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46.xml" ContentType="application/vnd.openxmlformats-officedocument.presentationml.tags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ppt/tags/tag48.xml" ContentType="application/vnd.openxmlformats-officedocument.presentationml.tags+xml"/>
  <Override PartName="/ppt/notesSlides/notesSlide3.xml" ContentType="application/vnd.openxmlformats-officedocument.presentationml.notesSlide+xml"/>
  <Override PartName="/ppt/tags/tag49.xml" ContentType="application/vnd.openxmlformats-officedocument.presentationml.tags+xml"/>
  <Override PartName="/ppt/notesSlides/notesSlide4.xml" ContentType="application/vnd.openxmlformats-officedocument.presentationml.notesSlide+xml"/>
  <Override PartName="/ppt/tags/tag50.xml" ContentType="application/vnd.openxmlformats-officedocument.presentationml.tags+xml"/>
  <Override PartName="/ppt/notesSlides/notesSlide5.xml" ContentType="application/vnd.openxmlformats-officedocument.presentationml.notesSlide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2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5" r:id="rId4"/>
    <p:sldMasterId id="2147483838" r:id="rId5"/>
    <p:sldMasterId id="2147483767" r:id="rId6"/>
    <p:sldMasterId id="2147483802" r:id="rId7"/>
    <p:sldMasterId id="2147483856" r:id="rId8"/>
  </p:sldMasterIdLst>
  <p:notesMasterIdLst>
    <p:notesMasterId r:id="rId22"/>
  </p:notesMasterIdLst>
  <p:handoutMasterIdLst>
    <p:handoutMasterId r:id="rId23"/>
  </p:handoutMasterIdLst>
  <p:sldIdLst>
    <p:sldId id="2032" r:id="rId9"/>
    <p:sldId id="2797" r:id="rId10"/>
    <p:sldId id="2892" r:id="rId11"/>
    <p:sldId id="2884" r:id="rId12"/>
    <p:sldId id="2888" r:id="rId13"/>
    <p:sldId id="2885" r:id="rId14"/>
    <p:sldId id="2890" r:id="rId15"/>
    <p:sldId id="2893" r:id="rId16"/>
    <p:sldId id="2886" r:id="rId17"/>
    <p:sldId id="2891" r:id="rId18"/>
    <p:sldId id="2887" r:id="rId19"/>
    <p:sldId id="2878" r:id="rId20"/>
    <p:sldId id="1219" r:id="rId21"/>
  </p:sldIdLst>
  <p:sldSz cx="12192000" cy="6858000"/>
  <p:notesSz cx="9601200" cy="73152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unsky Presentation" id="{32EF09D4-9970-4AF9-B544-87BB5055AB87}">
          <p14:sldIdLst>
            <p14:sldId id="2032"/>
            <p14:sldId id="2797"/>
            <p14:sldId id="2892"/>
            <p14:sldId id="2884"/>
            <p14:sldId id="2888"/>
            <p14:sldId id="2885"/>
            <p14:sldId id="2890"/>
            <p14:sldId id="2893"/>
            <p14:sldId id="2886"/>
            <p14:sldId id="2891"/>
            <p14:sldId id="2887"/>
            <p14:sldId id="2878"/>
            <p14:sldId id="1219"/>
          </p14:sldIdLst>
        </p14:section>
        <p14:section name="Graphics" id="{6E8D9153-1C2A-40FE-A061-EB5E4032F4B7}">
          <p14:sldIdLst/>
        </p14:section>
        <p14:section name="More Complex Layouts" id="{AD4C5C45-FA37-4A57-A698-D5F99332E330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61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566007-F816-F554-7828-DBE749BD4A56}" name="Philippe Dunsky" initials="PD" userId="S::philippe@dunsky.com::87192f1a-e3c8-432a-9cc2-8a63ae3058fc" providerId="AD"/>
  <p188:author id="{41C8DF2B-FC6F-800D-5385-93A9D8DB4EAE}" name="Justine Provost" initials="JP" userId="S::justine.provost@dunsky.com::fb6c65ea-0e2a-40d0-b2da-289bcd2bee43" providerId="AD"/>
  <p188:author id="{F172692C-DEF5-B0F2-05F9-FAFF17B9D1D0}" name="Emma Hill" initials="EH" userId="S::emma.hill@dunsky.com::f73bd410-a3a9-44ac-b024-c8977ee4abce" providerId="AD"/>
  <p188:author id="{D74CD1A8-2348-01B5-EC4B-C55EFFD2BB48}" name="Samuel Ross" initials="SR" userId="S::samuel.ross@dunsky.com::07f6fb3e-5e37-4967-866b-452448e44262" providerId="AD"/>
  <p188:author id="{3D7771D8-C5C9-BCB3-6422-5423302F912A}" name="Ali Rivers" initials="AR" userId="S::ali.rivers@dunsky.com::80894ca3-77be-4614-877a-0e3edc6d8bf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ayden Culligan" initials="BC" lastIdx="14" clrIdx="0">
    <p:extLst>
      <p:ext uri="{19B8F6BF-5375-455C-9EA6-DF929625EA0E}">
        <p15:presenceInfo xmlns:p15="http://schemas.microsoft.com/office/powerpoint/2012/main" userId="Brayden Culligan" providerId="None"/>
      </p:ext>
    </p:extLst>
  </p:cmAuthor>
  <p:cmAuthor id="2" name="Jeff Turner" initials="JT" lastIdx="7" clrIdx="1">
    <p:extLst>
      <p:ext uri="{19B8F6BF-5375-455C-9EA6-DF929625EA0E}">
        <p15:presenceInfo xmlns:p15="http://schemas.microsoft.com/office/powerpoint/2012/main" userId="S-1-5-21-12285100-1594791959-1414817731-1168" providerId="AD"/>
      </p:ext>
    </p:extLst>
  </p:cmAuthor>
  <p:cmAuthor id="3" name="Justine Provost" initials="JP" lastIdx="1" clrIdx="2">
    <p:extLst>
      <p:ext uri="{19B8F6BF-5375-455C-9EA6-DF929625EA0E}">
        <p15:presenceInfo xmlns:p15="http://schemas.microsoft.com/office/powerpoint/2012/main" userId="S::justine.provost@dunsky.com::fb6c65ea-0e2a-40d0-b2da-289bcd2bee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6594"/>
    <a:srgbClr val="AED9FE"/>
    <a:srgbClr val="3F9793"/>
    <a:srgbClr val="E7F2FF"/>
    <a:srgbClr val="2E2E2E"/>
    <a:srgbClr val="FAFBFD"/>
    <a:srgbClr val="57B9E9"/>
    <a:srgbClr val="413E3E"/>
    <a:srgbClr val="3DA2FD"/>
    <a:srgbClr val="1555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B8E2CB0-0F55-4EB9-A702-FEA173F9B92E}" v="17" dt="2026-03-23T20:03:40.009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72" y="114"/>
      </p:cViewPr>
      <p:guideLst>
        <p:guide orient="horz" pos="361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28170BC-353E-41A0-95D7-F511A76C3F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160838" cy="366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F6B0A9-A2DC-42E9-AD16-B71E7F6A129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438775" y="0"/>
            <a:ext cx="4160838" cy="366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C93E81-4B6C-4034-92FA-BCB195DEE104}" type="datetimeFigureOut">
              <a:rPr lang="en-CA" smtClean="0"/>
              <a:t>2026-03-24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2B992F-B41B-4C57-B4BA-D1A1C16C16C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948488"/>
            <a:ext cx="4160838" cy="366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EFA69E-4838-4B0C-9566-BAC3D8A855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438775" y="6948488"/>
            <a:ext cx="4160838" cy="366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82C165-555E-4E8E-A46F-D3301FA7066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671672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160520" cy="36703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 rtl="0">
              <a:defRPr sz="13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8458" y="1"/>
            <a:ext cx="4160520" cy="36703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 rtl="0">
              <a:defRPr sz="1300"/>
            </a:lvl1pPr>
          </a:lstStyle>
          <a:p>
            <a:fld id="{995FFDDB-895E-45D0-B62D-F5485F5AADB7}" type="datetimeFigureOut">
              <a:rPr lang="en-CA" smtClean="0"/>
              <a:pPr/>
              <a:t>2026-03-24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06675" y="914400"/>
            <a:ext cx="4387850" cy="2468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60120" y="3520439"/>
            <a:ext cx="7680960" cy="2880361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CA"/>
              <a:t>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948171"/>
            <a:ext cx="4160520" cy="367029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 rtl="0">
              <a:defRPr sz="13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8458" y="6948171"/>
            <a:ext cx="4160520" cy="367029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 rtl="0">
              <a:defRPr sz="1300"/>
            </a:lvl1pPr>
          </a:lstStyle>
          <a:p>
            <a:fld id="{BD02E96C-74B2-4A93-991C-7009E16657C0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818675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02E96C-74B2-4A93-991C-7009E16657C0}" type="slidenum">
              <a:rPr lang="en-CA" smtClean="0"/>
              <a:pPr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007668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F938E8-A167-6928-238C-D6F1712A79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9CFDF5-0DFF-0B9D-F0EA-084C614EB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7534CC-8F5D-63AC-231E-01B252770E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753C1D-A1BF-10E4-BA58-B1C6FF04D1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02E96C-74B2-4A93-991C-7009E16657C0}" type="slidenum">
              <a:rPr lang="en-CA" smtClean="0"/>
              <a:pPr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98921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DAD6C1-1EED-BE45-8FA3-A3F8E5EC9A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6D3CF3-0D20-ED65-849A-C07BE4394B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D3108F-4A3A-14FF-67B4-A433F234F5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E734BE-2EF6-A5F2-9265-526449367B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02E96C-74B2-4A93-991C-7009E16657C0}" type="slidenum">
              <a:rPr lang="en-CA" smtClean="0"/>
              <a:pPr/>
              <a:t>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47816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D91A6C-1CE7-201B-4DF8-23F694661A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ACCADF-F3A6-5519-BE69-6D06B50D6C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C6E0FE3-6AE7-7C5D-E903-B9FA9C01BE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5F0034-3E4B-12F7-73B5-E9634D79DD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02E96C-74B2-4A93-991C-7009E16657C0}" type="slidenum">
              <a:rPr lang="en-CA" smtClean="0"/>
              <a:pPr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783197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7C81EF-1F87-E1D2-A7CF-9E978EFFB3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5C81FA-405B-7D6A-3027-0FB8364982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FBFBD6-288B-67BF-651D-C2321ED6A7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D00C-9A53-4731-028A-0CA71E6428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02E96C-74B2-4A93-991C-7009E16657C0}" type="slidenum">
              <a:rPr lang="en-CA" smtClean="0"/>
              <a:pPr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111724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22131A-7685-3EFB-EA4A-E0CD731455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001EA49-6C13-5C8D-F940-3A240C923E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AB34DD-4A87-719B-A2CF-DDE6970BB9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3FDFA2-C9D2-1550-77C6-C3E50604B9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02E96C-74B2-4A93-991C-7009E16657C0}" type="slidenum">
              <a:rPr lang="en-CA" smtClean="0"/>
              <a:pPr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451405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E51B47-4DDA-A050-0CEB-A2CCF897D6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F97E51-B172-D494-BD0B-A1A4B10E7C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93794F-5F88-489C-A1DB-30F6D3BE37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ED1867-0A05-EAC7-D8BA-E97CFDC456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02E96C-74B2-4A93-991C-7009E16657C0}" type="slidenum">
              <a:rPr lang="en-CA" smtClean="0"/>
              <a:pPr/>
              <a:t>1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291751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02E96C-74B2-4A93-991C-7009E16657C0}" type="slidenum">
              <a:rPr lang="en-CA" smtClean="0"/>
              <a:pPr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37215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4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.emf"/><Relationship Id="rId9" Type="http://schemas.openxmlformats.org/officeDocument/2006/relationships/image" Target="../media/image16.png"/><Relationship Id="rId14" Type="http://schemas.openxmlformats.org/officeDocument/2006/relationships/image" Target="../media/image21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F79EC8-8473-4B7F-94D7-069734FC76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4971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F79EC8-8473-4B7F-94D7-069734FC76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46C66345-BD83-476C-BE02-4BAAD095DB6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10E1531-49CA-45A3-9A02-3C7E4AEF8275}"/>
              </a:ext>
            </a:extLst>
          </p:cNvPr>
          <p:cNvSpPr/>
          <p:nvPr userDrawn="1"/>
        </p:nvSpPr>
        <p:spPr>
          <a:xfrm>
            <a:off x="-3" y="0"/>
            <a:ext cx="12192003" cy="6857999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BB46A85-24D0-4CF6-BF3B-1C015C94A84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40350" y="2709250"/>
            <a:ext cx="6119813" cy="1439500"/>
          </a:xfrm>
          <a:prstGeom prst="rect">
            <a:avLst/>
          </a:prstGeom>
        </p:spPr>
        <p:txBody>
          <a:bodyPr anchor="ctr" anchorCtr="0"/>
          <a:lstStyle>
            <a:lvl1pPr marL="0" indent="0" rtl="0">
              <a:spcAft>
                <a:spcPts val="600"/>
              </a:spcAft>
              <a:buNone/>
              <a:defRPr lang="en-US" sz="3600" b="1" kern="0" spc="60" baseline="0" dirty="0" smtClean="0">
                <a:solidFill>
                  <a:schemeClr val="bg1"/>
                </a:solidFill>
                <a:effectLst/>
                <a:latin typeface="+mj-lt"/>
                <a:ea typeface="ＭＳ Ｐゴシック" charset="-128"/>
                <a:cs typeface="ＭＳ Ｐゴシック" charset="-128"/>
              </a:defRPr>
            </a:lvl1pPr>
            <a:lvl2pPr marL="0" indent="0" rtl="0">
              <a:buNone/>
              <a:defRPr lang="en-US" sz="2000" b="1" kern="0" spc="60" baseline="0" dirty="0" smtClean="0">
                <a:solidFill>
                  <a:schemeClr val="accent4"/>
                </a:solidFill>
                <a:effectLst/>
                <a:latin typeface="+mn-lt"/>
                <a:ea typeface="ＭＳ Ｐゴシック" charset="-128"/>
                <a:cs typeface="ＭＳ Ｐゴシック" charset="-128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208829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ildings Res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uilding, outdoor, brick, window&#10;&#10;Description automatically generated">
            <a:extLst>
              <a:ext uri="{FF2B5EF4-FFF2-40B4-BE49-F238E27FC236}">
                <a16:creationId xmlns:a16="http://schemas.microsoft.com/office/drawing/2014/main" id="{ACE8D49B-5160-766A-CA0E-6DC66F46F7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62" b="653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E3891D0-0BBF-3C8D-E47D-072FA6178F4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CCB6F01-1306-45EF-976D-878264D2FC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4291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CCB6F01-1306-45EF-976D-878264D2F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F7E4C37-1093-49E2-B1D9-55222EAF17A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2170" y="273444"/>
            <a:ext cx="2036618" cy="99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0826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72EE1A5-BBA2-4FA4-9CA5-55F45543D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4535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72EE1A5-BBA2-4FA4-9CA5-55F45543D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2857DF3C-0D83-4031-9709-43A65143D0F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450A5AA-B477-4F2A-A4D2-E4B307915421}"/>
              </a:ext>
            </a:extLst>
          </p:cNvPr>
          <p:cNvSpPr/>
          <p:nvPr userDrawn="1"/>
        </p:nvSpPr>
        <p:spPr>
          <a:xfrm>
            <a:off x="0" y="0"/>
            <a:ext cx="12192003" cy="6857999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7D3DB2-40F8-4640-93F3-021C1FCF732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2170" y="273444"/>
            <a:ext cx="2036618" cy="99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801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ust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50B5291-7561-86FA-C403-63B2B47BBC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980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50B5291-7561-86FA-C403-63B2B47BBC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6062D94F-9ADD-53AF-FC36-8B17E4CBE16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42" r="-138" b="555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450A5AA-B477-4F2A-A4D2-E4B307915421}"/>
              </a:ext>
            </a:extLst>
          </p:cNvPr>
          <p:cNvSpPr/>
          <p:nvPr userDrawn="1"/>
        </p:nvSpPr>
        <p:spPr>
          <a:xfrm>
            <a:off x="0" y="0"/>
            <a:ext cx="12192003" cy="6858000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E2A4DF-3AD0-4D4F-9204-1374602E642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2170" y="273444"/>
            <a:ext cx="2036618" cy="99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65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D20624-283D-4F5D-B50A-FE25145414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438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D20624-283D-4F5D-B50A-FE25145414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90518C7-3065-453E-B4CC-79A6DFB6F6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2" b="781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450A5AA-B477-4F2A-A4D2-E4B307915421}"/>
              </a:ext>
            </a:extLst>
          </p:cNvPr>
          <p:cNvSpPr/>
          <p:nvPr userDrawn="1"/>
        </p:nvSpPr>
        <p:spPr>
          <a:xfrm>
            <a:off x="-3" y="0"/>
            <a:ext cx="12192003" cy="6858000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9E14A2-5735-45DB-AC2F-8C1C50B908C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2170" y="273444"/>
            <a:ext cx="2036618" cy="99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6385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8E4EF7-5145-47D8-96DD-3453CA9545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3750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8E4EF7-5145-47D8-96DD-3453CA9545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1F0A8EA3-01FD-4280-B3BB-94A4311FD7ED}"/>
              </a:ext>
            </a:extLst>
          </p:cNvPr>
          <p:cNvSpPr/>
          <p:nvPr userDrawn="1"/>
        </p:nvSpPr>
        <p:spPr>
          <a:xfrm>
            <a:off x="0" y="0"/>
            <a:ext cx="12206468" cy="990952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89804"/>
                </a:srgbClr>
              </a:gs>
              <a:gs pos="57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 cap="all" baseline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7C31897-9E62-4AB7-B911-F0AD8B52104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5382" y="0"/>
            <a:ext cx="2036618" cy="990952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05CC07-DAF3-49A4-82D9-B12F5D88F8A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31837" y="1270146"/>
            <a:ext cx="9180513" cy="5146529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0" indent="0" rtl="0">
              <a:lnSpc>
                <a:spcPct val="110000"/>
              </a:lnSpc>
              <a:spcBef>
                <a:spcPts val="18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defTabSz="777875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marL="864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600" i="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marL="1296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400" i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marL="1728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CA" sz="13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  <a:lvl6pPr marL="2088000" indent="-179388">
              <a:lnSpc>
                <a:spcPct val="110000"/>
              </a:lnSpc>
              <a:spcBef>
                <a:spcPts val="0"/>
              </a:spcBef>
              <a:defRPr lang="en-CA" sz="120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  <a:p>
            <a:pPr lvl="5"/>
            <a:r>
              <a:rPr lang="en-CA"/>
              <a:t>Six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9CB1F22-92C6-4416-AC3D-EAF4E2D07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528" y="370633"/>
            <a:ext cx="9179822" cy="594807"/>
          </a:xfrm>
          <a:prstGeom prst="rect">
            <a:avLst/>
          </a:prstGeom>
        </p:spPr>
        <p:txBody>
          <a:bodyPr vert="horz" lIns="0" tIns="72000" rIns="0" bIns="72000" rtlCol="0" anchor="ctr">
            <a:normAutofit/>
          </a:bodyPr>
          <a:lstStyle>
            <a:lvl1pPr rtl="0">
              <a:defRPr lang="en-CA" sz="2800" b="1" dirty="0">
                <a:ln>
                  <a:noFill/>
                </a:ln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CA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E2F489D-8B58-4DFA-847C-B489539A9D6E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32526" y="172277"/>
            <a:ext cx="5507937" cy="1983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400" b="1" cap="none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012405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E5A81-BCFB-4AEB-A00B-A3F2213C41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2684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E5A81-BCFB-4AEB-A00B-A3F2213C4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3F9FE581-1E05-4808-A5B6-EA266D3C9070}"/>
              </a:ext>
            </a:extLst>
          </p:cNvPr>
          <p:cNvSpPr/>
          <p:nvPr userDrawn="1"/>
        </p:nvSpPr>
        <p:spPr>
          <a:xfrm>
            <a:off x="0" y="0"/>
            <a:ext cx="12192003" cy="6858000"/>
          </a:xfrm>
          <a:prstGeom prst="rect">
            <a:avLst/>
          </a:prstGeom>
          <a:gradFill flip="none" rotWithShape="1">
            <a:gsLst>
              <a:gs pos="100000">
                <a:srgbClr val="57B9E9"/>
              </a:gs>
              <a:gs pos="35000">
                <a:srgbClr val="013766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CF5900-B91B-4611-9EE3-5360079C2D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8119" y="568371"/>
            <a:ext cx="2646268" cy="792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47E3C04-7F6B-5DD8-0463-41021862D63C}"/>
              </a:ext>
            </a:extLst>
          </p:cNvPr>
          <p:cNvSpPr/>
          <p:nvPr userDrawn="1"/>
        </p:nvSpPr>
        <p:spPr>
          <a:xfrm>
            <a:off x="4286250" y="6177776"/>
            <a:ext cx="7905750" cy="6802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684000" rtlCol="0" anchor="ctr"/>
          <a:lstStyle/>
          <a:p>
            <a:pPr algn="r" rtl="0"/>
            <a:r>
              <a:rPr lang="en-CA" sz="1200" b="1" spc="150" baseline="0" noProof="0">
                <a:solidFill>
                  <a:schemeClr val="accent1"/>
                </a:solidFill>
                <a:latin typeface="+mn-lt"/>
              </a:rPr>
              <a:t>BUILDINGS. MOBILITY. INDUSTRY. ENERGY.          </a:t>
            </a:r>
            <a:r>
              <a:rPr lang="en-CA" sz="1400" b="1" spc="150" baseline="0" noProof="0">
                <a:solidFill>
                  <a:schemeClr val="accent1"/>
                </a:solidFill>
                <a:latin typeface="+mn-lt"/>
              </a:rPr>
              <a:t>www.dunsky.com </a:t>
            </a:r>
            <a:endParaRPr lang="en-CA" sz="1200" b="1" spc="150" baseline="0" noProof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9873BB-96BF-4FD5-E4A1-6FD23A5D34D0}"/>
              </a:ext>
            </a:extLst>
          </p:cNvPr>
          <p:cNvSpPr/>
          <p:nvPr userDrawn="1"/>
        </p:nvSpPr>
        <p:spPr>
          <a:xfrm>
            <a:off x="1" y="6177776"/>
            <a:ext cx="5016500" cy="6802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pPr rtl="0"/>
            <a:endParaRPr lang="en-CA" sz="1200" noProof="0">
              <a:solidFill>
                <a:schemeClr val="accent1"/>
              </a:solidFill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2958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DD19810-E8E1-477C-A8A7-5CDD59D5A8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6141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DD19810-E8E1-477C-A8A7-5CDD59D5A8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470E4C25-F275-4DEA-B108-F00E0DF343BE}"/>
              </a:ext>
            </a:extLst>
          </p:cNvPr>
          <p:cNvSpPr/>
          <p:nvPr userDrawn="1"/>
        </p:nvSpPr>
        <p:spPr>
          <a:xfrm>
            <a:off x="-3" y="0"/>
            <a:ext cx="12192003" cy="3429000"/>
          </a:xfrm>
          <a:prstGeom prst="rect">
            <a:avLst/>
          </a:prstGeom>
          <a:gradFill flip="none" rotWithShape="1">
            <a:gsLst>
              <a:gs pos="100000">
                <a:srgbClr val="57B9E9"/>
              </a:gs>
              <a:gs pos="35000">
                <a:srgbClr val="013766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D33C47A-46CA-4333-8215-83388B2BE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8125" y="798641"/>
            <a:ext cx="10445563" cy="594807"/>
          </a:xfrm>
          <a:prstGeom prst="rect">
            <a:avLst/>
          </a:prstGeom>
        </p:spPr>
        <p:txBody>
          <a:bodyPr vert="horz" lIns="0" tIns="72000" rIns="0" bIns="72000" rtlCol="0" anchor="ctr">
            <a:noAutofit/>
          </a:bodyPr>
          <a:lstStyle>
            <a:lvl1pPr algn="ctr" rtl="0">
              <a:defRPr lang="en-CA" sz="3600" b="1" dirty="0">
                <a:ln>
                  <a:noFill/>
                </a:ln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CA"/>
              <a:t>Our Team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6B581BE0-1F0D-4704-A94F-29B92819C99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8125" y="2295168"/>
            <a:ext cx="2340000" cy="2340000"/>
          </a:xfrm>
          <a:prstGeom prst="rect">
            <a:avLst/>
          </a:prstGeom>
        </p:spPr>
        <p:txBody>
          <a:bodyPr/>
          <a:lstStyle>
            <a:lvl1pPr>
              <a:defRPr lang="en-CA"/>
            </a:lvl1pPr>
          </a:lstStyle>
          <a:p>
            <a:endParaRPr lang="en-CA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F4C57F9-0DA4-41B1-A952-33503DBF85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8125" y="4876296"/>
            <a:ext cx="2340000" cy="1235489"/>
          </a:xfrm>
          <a:prstGeom prst="rect">
            <a:avLst/>
          </a:prstGeom>
        </p:spPr>
        <p:txBody>
          <a:bodyPr/>
          <a:lstStyle>
            <a:lvl1pPr marL="0" indent="0" algn="ctr" rtl="0">
              <a:buNone/>
              <a:defRPr lang="en-US" sz="1400" b="1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ctr" rtl="0">
              <a:spcAft>
                <a:spcPts val="600"/>
              </a:spcAft>
              <a:buNone/>
              <a:defRPr lang="en-US" sz="1400" b="1" kern="1200" cap="none" baseline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rtl="0">
              <a:buNone/>
              <a:defRPr lang="en-US" sz="1400" b="0" kern="1200" cap="none" baseline="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/>
            </a:lvl4pPr>
            <a:lvl5pPr>
              <a:defRPr lang="en-CA" dirty="0"/>
            </a:lvl5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66DCDA8F-628C-45E6-8713-D1A9F5EFB86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405813" y="2295168"/>
            <a:ext cx="2340000" cy="2340000"/>
          </a:xfrm>
          <a:prstGeom prst="rect">
            <a:avLst/>
          </a:prstGeom>
        </p:spPr>
        <p:txBody>
          <a:bodyPr/>
          <a:lstStyle>
            <a:lvl1pPr>
              <a:defRPr lang="en-CA"/>
            </a:lvl1pPr>
          </a:lstStyle>
          <a:p>
            <a:endParaRPr lang="en-CA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E7667F93-6C70-4118-A175-669B3E6181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99979" y="4876296"/>
            <a:ext cx="2340000" cy="1235489"/>
          </a:xfrm>
          <a:prstGeom prst="rect">
            <a:avLst/>
          </a:prstGeom>
        </p:spPr>
        <p:txBody>
          <a:bodyPr/>
          <a:lstStyle>
            <a:lvl1pPr marL="0" indent="0" algn="ctr" rtl="0">
              <a:buNone/>
              <a:defRPr lang="en-US" sz="1400" b="1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ctr" rtl="0">
              <a:spcAft>
                <a:spcPts val="600"/>
              </a:spcAft>
              <a:buNone/>
              <a:defRPr lang="en-US" sz="1400" b="1" kern="1200" cap="none" baseline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rtl="0">
              <a:buNone/>
              <a:defRPr lang="en-US" sz="1400" b="0" kern="1200" cap="none" baseline="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/>
            </a:lvl4pPr>
            <a:lvl5pPr>
              <a:defRPr lang="en-CA" dirty="0"/>
            </a:lvl5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253CAD4A-6005-4BBC-B751-272D6CF4122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04750" y="2295168"/>
            <a:ext cx="2340000" cy="2340000"/>
          </a:xfrm>
          <a:prstGeom prst="rect">
            <a:avLst/>
          </a:prstGeom>
        </p:spPr>
        <p:txBody>
          <a:bodyPr/>
          <a:lstStyle>
            <a:lvl1pPr>
              <a:defRPr lang="en-CA"/>
            </a:lvl1pPr>
          </a:lstStyle>
          <a:p>
            <a:endParaRPr lang="en-CA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7976637-C77C-49A5-A2DD-A02C4E10593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01833" y="4876296"/>
            <a:ext cx="2340000" cy="1235489"/>
          </a:xfrm>
          <a:prstGeom prst="rect">
            <a:avLst/>
          </a:prstGeom>
        </p:spPr>
        <p:txBody>
          <a:bodyPr/>
          <a:lstStyle>
            <a:lvl1pPr marL="0" indent="0" algn="ctr" rtl="0">
              <a:buNone/>
              <a:defRPr lang="en-US" sz="1400" b="1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ctr" rtl="0">
              <a:spcAft>
                <a:spcPts val="600"/>
              </a:spcAft>
              <a:buNone/>
              <a:defRPr lang="en-US" sz="1400" b="1" kern="1200" cap="none" baseline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rtl="0">
              <a:buNone/>
              <a:defRPr lang="en-US" sz="1400" b="0" kern="1200" cap="none" baseline="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/>
            </a:lvl4pPr>
            <a:lvl5pPr>
              <a:defRPr lang="en-CA" dirty="0"/>
            </a:lvl5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028DF544-A06B-4069-80A8-D8369745F4A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803687" y="2295168"/>
            <a:ext cx="2340000" cy="2340000"/>
          </a:xfrm>
          <a:prstGeom prst="rect">
            <a:avLst/>
          </a:prstGeom>
        </p:spPr>
        <p:txBody>
          <a:bodyPr/>
          <a:lstStyle>
            <a:lvl1pPr>
              <a:defRPr lang="en-CA"/>
            </a:lvl1pPr>
          </a:lstStyle>
          <a:p>
            <a:endParaRPr lang="en-CA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58FE8DF0-CFA1-418B-8067-EE162704DD5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03688" y="4876296"/>
            <a:ext cx="2340000" cy="1235489"/>
          </a:xfrm>
          <a:prstGeom prst="rect">
            <a:avLst/>
          </a:prstGeom>
        </p:spPr>
        <p:txBody>
          <a:bodyPr/>
          <a:lstStyle>
            <a:lvl1pPr marL="0" indent="0" algn="ctr" rtl="0">
              <a:buNone/>
              <a:defRPr lang="en-US" sz="1400" b="1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ctr" rtl="0">
              <a:spcAft>
                <a:spcPts val="600"/>
              </a:spcAft>
              <a:buNone/>
              <a:defRPr lang="en-US" sz="1400" b="1" kern="1200" cap="none" baseline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rtl="0">
              <a:buNone/>
              <a:defRPr lang="en-US" sz="1400" b="0" kern="1200" cap="none" baseline="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/>
            </a:lvl4pPr>
            <a:lvl5pPr>
              <a:defRPr lang="en-CA" dirty="0"/>
            </a:lvl5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4A5657D-DDB1-4CCD-AB6C-15B1425C85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888" y="251513"/>
            <a:ext cx="2044844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817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E5A81-BCFB-4AEB-A00B-A3F2213C41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2684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E5A81-BCFB-4AEB-A00B-A3F2213C4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3F9FE581-1E05-4808-A5B6-EA266D3C9070}"/>
              </a:ext>
            </a:extLst>
          </p:cNvPr>
          <p:cNvSpPr/>
          <p:nvPr userDrawn="1"/>
        </p:nvSpPr>
        <p:spPr>
          <a:xfrm>
            <a:off x="0" y="0"/>
            <a:ext cx="12192003" cy="6858000"/>
          </a:xfrm>
          <a:prstGeom prst="rect">
            <a:avLst/>
          </a:prstGeom>
          <a:gradFill flip="none" rotWithShape="1">
            <a:gsLst>
              <a:gs pos="100000">
                <a:srgbClr val="57B9E9"/>
              </a:gs>
              <a:gs pos="35000">
                <a:srgbClr val="013766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CF5900-B91B-4611-9EE3-5360079C2D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8119" y="568371"/>
            <a:ext cx="2646268" cy="792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47E3C04-7F6B-5DD8-0463-41021862D63C}"/>
              </a:ext>
            </a:extLst>
          </p:cNvPr>
          <p:cNvSpPr/>
          <p:nvPr userDrawn="1"/>
        </p:nvSpPr>
        <p:spPr>
          <a:xfrm>
            <a:off x="4286250" y="6177776"/>
            <a:ext cx="7905750" cy="6802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684000" rtlCol="0" anchor="ctr"/>
          <a:lstStyle/>
          <a:p>
            <a:pPr algn="r" rtl="0"/>
            <a:r>
              <a:rPr lang="en-CA" sz="1200" b="1" spc="150" baseline="0" noProof="0">
                <a:solidFill>
                  <a:schemeClr val="accent1"/>
                </a:solidFill>
                <a:latin typeface="+mn-lt"/>
              </a:rPr>
              <a:t>BUILDINGS. MOBILITY. INDUSTRY. ENERGY.          </a:t>
            </a:r>
            <a:r>
              <a:rPr lang="en-CA" sz="1400" b="1" spc="150" baseline="0" noProof="0">
                <a:solidFill>
                  <a:schemeClr val="accent1"/>
                </a:solidFill>
                <a:latin typeface="+mn-lt"/>
              </a:rPr>
              <a:t>www.dunsky.com </a:t>
            </a:r>
            <a:endParaRPr lang="en-CA" sz="1200" b="1" spc="150" baseline="0" noProof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9873BB-96BF-4FD5-E4A1-6FD23A5D34D0}"/>
              </a:ext>
            </a:extLst>
          </p:cNvPr>
          <p:cNvSpPr/>
          <p:nvPr userDrawn="1"/>
        </p:nvSpPr>
        <p:spPr>
          <a:xfrm>
            <a:off x="1" y="6177776"/>
            <a:ext cx="5016500" cy="6802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pPr rtl="0"/>
            <a:endParaRPr lang="en-CA" sz="1200" noProof="0">
              <a:solidFill>
                <a:schemeClr val="accent1"/>
              </a:solidFill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495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8E4EF7-5145-47D8-96DD-3453CA9545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3750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8E4EF7-5145-47D8-96DD-3453CA9545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1F0A8EA3-01FD-4280-B3BB-94A4311FD7ED}"/>
              </a:ext>
            </a:extLst>
          </p:cNvPr>
          <p:cNvSpPr/>
          <p:nvPr userDrawn="1"/>
        </p:nvSpPr>
        <p:spPr>
          <a:xfrm>
            <a:off x="0" y="0"/>
            <a:ext cx="12206468" cy="990952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89804"/>
                </a:srgbClr>
              </a:gs>
              <a:gs pos="57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 cap="all" baseline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7C31897-9E62-4AB7-B911-F0AD8B52104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5382" y="0"/>
            <a:ext cx="2036618" cy="990952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05CC07-DAF3-49A4-82D9-B12F5D88F8A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31837" y="1270146"/>
            <a:ext cx="9180513" cy="5146529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0" indent="0" rtl="0">
              <a:lnSpc>
                <a:spcPct val="110000"/>
              </a:lnSpc>
              <a:spcBef>
                <a:spcPts val="18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defTabSz="777875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marL="864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600" i="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marL="1296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400" i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marL="1728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CA" sz="13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  <a:lvl6pPr marL="2088000" indent="-179388">
              <a:lnSpc>
                <a:spcPct val="110000"/>
              </a:lnSpc>
              <a:spcBef>
                <a:spcPts val="0"/>
              </a:spcBef>
              <a:defRPr lang="en-CA" sz="120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  <a:p>
            <a:pPr lvl="5"/>
            <a:r>
              <a:rPr lang="en-CA"/>
              <a:t>Six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9CB1F22-92C6-4416-AC3D-EAF4E2D07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528" y="370633"/>
            <a:ext cx="9179822" cy="594807"/>
          </a:xfrm>
          <a:prstGeom prst="rect">
            <a:avLst/>
          </a:prstGeom>
        </p:spPr>
        <p:txBody>
          <a:bodyPr vert="horz" lIns="0" tIns="72000" rIns="0" bIns="72000" rtlCol="0" anchor="ctr">
            <a:normAutofit/>
          </a:bodyPr>
          <a:lstStyle>
            <a:lvl1pPr rtl="0">
              <a:defRPr lang="en-CA" sz="2800" b="1" dirty="0">
                <a:ln>
                  <a:noFill/>
                </a:ln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CA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E2F489D-8B58-4DFA-847C-B489539A9D6E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32526" y="172277"/>
            <a:ext cx="5507937" cy="1983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400" b="1" cap="none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310836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71444D8-223F-4AC2-B33F-325B3040AB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503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71444D8-223F-4AC2-B33F-325B3040AB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5092B440-DBE3-4EB1-B0E5-687F86272D2E}"/>
              </a:ext>
            </a:extLst>
          </p:cNvPr>
          <p:cNvSpPr/>
          <p:nvPr userDrawn="1"/>
        </p:nvSpPr>
        <p:spPr>
          <a:xfrm>
            <a:off x="0" y="0"/>
            <a:ext cx="12206468" cy="990952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89804"/>
                </a:srgbClr>
              </a:gs>
              <a:gs pos="57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 cap="all" baseline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7C31897-9E62-4AB7-B911-F0AD8B52104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5382" y="0"/>
            <a:ext cx="2036618" cy="99095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CB3E129-8F1B-4ACE-9D3E-921214513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370633"/>
            <a:ext cx="9180513" cy="594807"/>
          </a:xfrm>
          <a:prstGeom prst="rect">
            <a:avLst/>
          </a:prstGeom>
        </p:spPr>
        <p:txBody>
          <a:bodyPr vert="horz" lIns="0" tIns="72000" rIns="0" bIns="72000" rtlCol="0" anchor="ctr">
            <a:normAutofit/>
          </a:bodyPr>
          <a:lstStyle>
            <a:lvl1pPr rtl="0">
              <a:defRPr lang="en-CA" sz="2800" b="1" dirty="0">
                <a:ln>
                  <a:noFill/>
                </a:ln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CA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436AF45-63F8-453A-A0DB-C5639106E4CF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31837" y="1270146"/>
            <a:ext cx="5219701" cy="5146529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0" indent="0" rtl="0">
              <a:lnSpc>
                <a:spcPct val="110000"/>
              </a:lnSpc>
              <a:spcBef>
                <a:spcPts val="18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defTabSz="777875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marL="864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600" i="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marL="1296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400" i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marL="1728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CA" sz="13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  <a:lvl6pPr marL="2088000" indent="-179388">
              <a:lnSpc>
                <a:spcPct val="110000"/>
              </a:lnSpc>
              <a:spcBef>
                <a:spcPts val="0"/>
              </a:spcBef>
              <a:defRPr lang="en-CA" sz="120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  <a:p>
            <a:pPr lvl="5"/>
            <a:r>
              <a:rPr lang="en-CA"/>
              <a:t>Sixth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24CA689-D1A8-487E-80D3-671CF6122040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240463" y="1270146"/>
            <a:ext cx="5219700" cy="5146529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0" indent="0" rtl="0">
              <a:lnSpc>
                <a:spcPct val="110000"/>
              </a:lnSpc>
              <a:spcBef>
                <a:spcPts val="18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defTabSz="777875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marL="864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600" i="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marL="1296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400" i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marL="1728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CA" sz="13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  <a:lvl6pPr marL="2088000" indent="-179388">
              <a:lnSpc>
                <a:spcPct val="110000"/>
              </a:lnSpc>
              <a:spcBef>
                <a:spcPts val="0"/>
              </a:spcBef>
              <a:defRPr lang="en-CA" sz="120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  <a:p>
            <a:pPr lvl="5"/>
            <a:r>
              <a:rPr lang="en-CA"/>
              <a:t>Six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50585AA-7D76-4124-92E5-C1B29455FB7E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32526" y="172277"/>
            <a:ext cx="5507937" cy="1983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400" b="1" cap="none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66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ildings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F79EC8-8473-4B7F-94D7-069734FC76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746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F79EC8-8473-4B7F-94D7-069734FC76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46C66345-BD83-476C-BE02-4BAAD095DB6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10E1531-49CA-45A3-9A02-3C7E4AEF8275}"/>
              </a:ext>
            </a:extLst>
          </p:cNvPr>
          <p:cNvSpPr/>
          <p:nvPr userDrawn="1"/>
        </p:nvSpPr>
        <p:spPr>
          <a:xfrm>
            <a:off x="-3" y="0"/>
            <a:ext cx="12192003" cy="6858000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  <p:sp>
        <p:nvSpPr>
          <p:cNvPr id="6" name="Rectangle 25"/>
          <p:cNvSpPr>
            <a:spLocks noChangeArrowheads="1"/>
          </p:cNvSpPr>
          <p:nvPr/>
        </p:nvSpPr>
        <p:spPr bwMode="auto">
          <a:xfrm>
            <a:off x="609600" y="4294188"/>
            <a:ext cx="619760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 rtl="0">
              <a:spcBef>
                <a:spcPct val="20000"/>
              </a:spcBef>
              <a:buClr>
                <a:srgbClr val="336699"/>
              </a:buClr>
              <a:buSzPct val="60000"/>
              <a:buFont typeface="Wingdings" pitchFamily="2" charset="2"/>
              <a:buNone/>
              <a:defRPr/>
            </a:pPr>
            <a:endParaRPr lang="en-CA" sz="240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  <a:cs typeface="+mn-cs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D3FBEEC3-0B16-4C5B-9320-0A7F1A6684B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40350" y="2709250"/>
            <a:ext cx="6119813" cy="1439500"/>
          </a:xfrm>
          <a:prstGeom prst="rect">
            <a:avLst/>
          </a:prstGeom>
        </p:spPr>
        <p:txBody>
          <a:bodyPr anchor="ctr" anchorCtr="0"/>
          <a:lstStyle>
            <a:lvl1pPr marL="0" indent="0" rtl="0">
              <a:spcAft>
                <a:spcPts val="600"/>
              </a:spcAft>
              <a:buNone/>
              <a:defRPr lang="en-US" sz="3600" b="1" kern="0" spc="60" baseline="0" dirty="0" smtClean="0">
                <a:solidFill>
                  <a:schemeClr val="bg1"/>
                </a:solidFill>
                <a:effectLst/>
                <a:latin typeface="+mj-lt"/>
                <a:ea typeface="ＭＳ Ｐゴシック" charset="-128"/>
                <a:cs typeface="ＭＳ Ｐゴシック" charset="-128"/>
              </a:defRPr>
            </a:lvl1pPr>
            <a:lvl2pPr marL="0" indent="0" rtl="0">
              <a:buNone/>
              <a:defRPr lang="en-US" sz="2000" b="1" kern="0" spc="60" baseline="0" dirty="0" smtClean="0">
                <a:solidFill>
                  <a:schemeClr val="accent4"/>
                </a:solidFill>
                <a:effectLst/>
                <a:latin typeface="+mn-lt"/>
                <a:ea typeface="ＭＳ Ｐゴシック" charset="-128"/>
                <a:cs typeface="ＭＳ Ｐゴシック" charset="-128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244822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2 Colum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71444D8-223F-4AC2-B33F-325B3040AB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10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71444D8-223F-4AC2-B33F-325B3040AB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589D4A6-C7FD-44A4-92D3-C90F238A9C4D}"/>
              </a:ext>
            </a:extLst>
          </p:cNvPr>
          <p:cNvSpPr/>
          <p:nvPr userDrawn="1"/>
        </p:nvSpPr>
        <p:spPr>
          <a:xfrm>
            <a:off x="7666" y="999463"/>
            <a:ext cx="6088333" cy="585853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92B440-DBE3-4EB1-B0E5-687F86272D2E}"/>
              </a:ext>
            </a:extLst>
          </p:cNvPr>
          <p:cNvSpPr/>
          <p:nvPr userDrawn="1"/>
        </p:nvSpPr>
        <p:spPr>
          <a:xfrm>
            <a:off x="0" y="0"/>
            <a:ext cx="12206468" cy="990952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89804"/>
                </a:srgbClr>
              </a:gs>
              <a:gs pos="57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 cap="all" baseline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7C31897-9E62-4AB7-B911-F0AD8B52104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5382" y="0"/>
            <a:ext cx="2036618" cy="99095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CB3E129-8F1B-4ACE-9D3E-921214513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527" y="370633"/>
            <a:ext cx="9179823" cy="594807"/>
          </a:xfrm>
          <a:prstGeom prst="rect">
            <a:avLst/>
          </a:prstGeom>
        </p:spPr>
        <p:txBody>
          <a:bodyPr vert="horz" lIns="0" tIns="72000" rIns="0" bIns="72000" rtlCol="0" anchor="ctr">
            <a:normAutofit/>
          </a:bodyPr>
          <a:lstStyle>
            <a:lvl1pPr rtl="0">
              <a:defRPr lang="en-CA" sz="2800" b="1" dirty="0">
                <a:ln>
                  <a:noFill/>
                </a:ln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CA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28B953F-EA42-4CD7-8E0A-7414105EF1F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32527" y="1270146"/>
            <a:ext cx="5219011" cy="5146529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0" indent="0" rtl="0">
              <a:lnSpc>
                <a:spcPct val="110000"/>
              </a:lnSpc>
              <a:spcBef>
                <a:spcPts val="18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defTabSz="777875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marL="864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600" i="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marL="1296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400" i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marL="1728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CA" sz="13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  <a:lvl6pPr marL="2088000" indent="-179388">
              <a:lnSpc>
                <a:spcPct val="110000"/>
              </a:lnSpc>
              <a:spcBef>
                <a:spcPts val="0"/>
              </a:spcBef>
              <a:defRPr lang="en-CA" sz="120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  <a:p>
            <a:pPr lvl="5"/>
            <a:r>
              <a:rPr lang="en-CA"/>
              <a:t>Six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0677D03-373D-4904-9FD7-89600E11085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240463" y="1270146"/>
            <a:ext cx="5219010" cy="5146529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0" indent="0" rtl="0">
              <a:lnSpc>
                <a:spcPct val="110000"/>
              </a:lnSpc>
              <a:spcBef>
                <a:spcPts val="18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defTabSz="777875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marL="864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600" i="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marL="1296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400" i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marL="1728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CA" sz="13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  <a:lvl6pPr marL="2088000" indent="-179388">
              <a:lnSpc>
                <a:spcPct val="110000"/>
              </a:lnSpc>
              <a:spcBef>
                <a:spcPts val="0"/>
              </a:spcBef>
              <a:defRPr lang="en-CA" sz="120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  <a:p>
            <a:pPr lvl="5"/>
            <a:r>
              <a:rPr lang="en-CA"/>
              <a:t>Sixth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194F7EC-032D-469A-88AF-D96EBD54106A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32526" y="172277"/>
            <a:ext cx="5507937" cy="1983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400" b="1" cap="none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2106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 Areas Blue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ED27CC-0B33-4FE1-A057-FB28F1AD0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76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ED27CC-0B33-4FE1-A057-FB28F1AD0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B631E53-B3D0-4C62-9F9F-CD0BCABAD740}"/>
              </a:ext>
            </a:extLst>
          </p:cNvPr>
          <p:cNvSpPr/>
          <p:nvPr userDrawn="1"/>
        </p:nvSpPr>
        <p:spPr>
          <a:xfrm>
            <a:off x="0" y="0"/>
            <a:ext cx="3105509" cy="6858000"/>
          </a:xfrm>
          <a:custGeom>
            <a:avLst/>
            <a:gdLst>
              <a:gd name="connsiteX0" fmla="*/ 0 w 4133631"/>
              <a:gd name="connsiteY0" fmla="*/ 0 h 6858000"/>
              <a:gd name="connsiteX1" fmla="*/ 2031574 w 4133631"/>
              <a:gd name="connsiteY1" fmla="*/ 0 h 6858000"/>
              <a:gd name="connsiteX2" fmla="*/ 2085125 w 4133631"/>
              <a:gd name="connsiteY2" fmla="*/ 34388 h 6858000"/>
              <a:gd name="connsiteX3" fmla="*/ 4133631 w 4133631"/>
              <a:gd name="connsiteY3" fmla="*/ 3893620 h 6858000"/>
              <a:gd name="connsiteX4" fmla="*/ 3072644 w 4133631"/>
              <a:gd name="connsiteY4" fmla="*/ 6854044 h 6858000"/>
              <a:gd name="connsiteX5" fmla="*/ 3069223 w 4133631"/>
              <a:gd name="connsiteY5" fmla="*/ 6858000 h 6858000"/>
              <a:gd name="connsiteX6" fmla="*/ 0 w 413363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3631" h="6858000">
                <a:moveTo>
                  <a:pt x="0" y="0"/>
                </a:moveTo>
                <a:lnTo>
                  <a:pt x="2031574" y="0"/>
                </a:lnTo>
                <a:lnTo>
                  <a:pt x="2085125" y="34388"/>
                </a:lnTo>
                <a:cubicBezTo>
                  <a:pt x="3321047" y="870759"/>
                  <a:pt x="4133631" y="2287136"/>
                  <a:pt x="4133631" y="3893620"/>
                </a:cubicBezTo>
                <a:cubicBezTo>
                  <a:pt x="4133631" y="5018159"/>
                  <a:pt x="3735465" y="6049546"/>
                  <a:pt x="3072644" y="6854044"/>
                </a:cubicBezTo>
                <a:lnTo>
                  <a:pt x="306922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35000">
                <a:schemeClr val="accent1"/>
              </a:gs>
              <a:gs pos="100000">
                <a:srgbClr val="57B9E9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CA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7FB4A73D-51D1-4D9A-97CE-F04F421D02C9}"/>
              </a:ext>
            </a:extLst>
          </p:cNvPr>
          <p:cNvSpPr/>
          <p:nvPr userDrawn="1"/>
        </p:nvSpPr>
        <p:spPr>
          <a:xfrm>
            <a:off x="1716757" y="0"/>
            <a:ext cx="1507083" cy="6861981"/>
          </a:xfrm>
          <a:custGeom>
            <a:avLst/>
            <a:gdLst>
              <a:gd name="connsiteX0" fmla="*/ 0 w 4921857"/>
              <a:gd name="connsiteY0" fmla="*/ 0 h 6873767"/>
              <a:gd name="connsiteX1" fmla="*/ 2813841 w 4921857"/>
              <a:gd name="connsiteY1" fmla="*/ 0 h 6873767"/>
              <a:gd name="connsiteX2" fmla="*/ 2867543 w 4921857"/>
              <a:gd name="connsiteY2" fmla="*/ 34428 h 6873767"/>
              <a:gd name="connsiteX3" fmla="*/ 4921857 w 4921857"/>
              <a:gd name="connsiteY3" fmla="*/ 3898129 h 6873767"/>
              <a:gd name="connsiteX4" fmla="*/ 3857862 w 4921857"/>
              <a:gd name="connsiteY4" fmla="*/ 6861981 h 6873767"/>
              <a:gd name="connsiteX5" fmla="*/ 3847653 w 4921857"/>
              <a:gd name="connsiteY5" fmla="*/ 6873767 h 6873767"/>
              <a:gd name="connsiteX6" fmla="*/ 0 w 4921857"/>
              <a:gd name="connsiteY6" fmla="*/ 6873767 h 6873767"/>
              <a:gd name="connsiteX0" fmla="*/ 0 w 4921857"/>
              <a:gd name="connsiteY0" fmla="*/ 6873767 h 6873767"/>
              <a:gd name="connsiteX1" fmla="*/ 2813841 w 4921857"/>
              <a:gd name="connsiteY1" fmla="*/ 0 h 6873767"/>
              <a:gd name="connsiteX2" fmla="*/ 2867543 w 4921857"/>
              <a:gd name="connsiteY2" fmla="*/ 34428 h 6873767"/>
              <a:gd name="connsiteX3" fmla="*/ 4921857 w 4921857"/>
              <a:gd name="connsiteY3" fmla="*/ 3898129 h 6873767"/>
              <a:gd name="connsiteX4" fmla="*/ 3857862 w 4921857"/>
              <a:gd name="connsiteY4" fmla="*/ 6861981 h 6873767"/>
              <a:gd name="connsiteX5" fmla="*/ 3847653 w 4921857"/>
              <a:gd name="connsiteY5" fmla="*/ 6873767 h 6873767"/>
              <a:gd name="connsiteX6" fmla="*/ 0 w 4921857"/>
              <a:gd name="connsiteY6" fmla="*/ 6873767 h 6873767"/>
              <a:gd name="connsiteX0" fmla="*/ 1033812 w 2108016"/>
              <a:gd name="connsiteY0" fmla="*/ 6873767 h 6873767"/>
              <a:gd name="connsiteX1" fmla="*/ 0 w 2108016"/>
              <a:gd name="connsiteY1" fmla="*/ 0 h 6873767"/>
              <a:gd name="connsiteX2" fmla="*/ 53702 w 2108016"/>
              <a:gd name="connsiteY2" fmla="*/ 34428 h 6873767"/>
              <a:gd name="connsiteX3" fmla="*/ 2108016 w 2108016"/>
              <a:gd name="connsiteY3" fmla="*/ 3898129 h 6873767"/>
              <a:gd name="connsiteX4" fmla="*/ 1044021 w 2108016"/>
              <a:gd name="connsiteY4" fmla="*/ 6861981 h 6873767"/>
              <a:gd name="connsiteX5" fmla="*/ 1033812 w 2108016"/>
              <a:gd name="connsiteY5" fmla="*/ 6873767 h 6873767"/>
              <a:gd name="connsiteX0" fmla="*/ 0 w 2108016"/>
              <a:gd name="connsiteY0" fmla="*/ 0 h 6965207"/>
              <a:gd name="connsiteX1" fmla="*/ 53702 w 2108016"/>
              <a:gd name="connsiteY1" fmla="*/ 34428 h 6965207"/>
              <a:gd name="connsiteX2" fmla="*/ 2108016 w 2108016"/>
              <a:gd name="connsiteY2" fmla="*/ 3898129 h 6965207"/>
              <a:gd name="connsiteX3" fmla="*/ 1044021 w 2108016"/>
              <a:gd name="connsiteY3" fmla="*/ 6861981 h 6965207"/>
              <a:gd name="connsiteX4" fmla="*/ 1125252 w 2108016"/>
              <a:gd name="connsiteY4" fmla="*/ 6965207 h 6965207"/>
              <a:gd name="connsiteX0" fmla="*/ 0 w 2108016"/>
              <a:gd name="connsiteY0" fmla="*/ 0 h 6861981"/>
              <a:gd name="connsiteX1" fmla="*/ 53702 w 2108016"/>
              <a:gd name="connsiteY1" fmla="*/ 34428 h 6861981"/>
              <a:gd name="connsiteX2" fmla="*/ 2108016 w 2108016"/>
              <a:gd name="connsiteY2" fmla="*/ 3898129 h 6861981"/>
              <a:gd name="connsiteX3" fmla="*/ 1044021 w 2108016"/>
              <a:gd name="connsiteY3" fmla="*/ 6861981 h 6861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8016" h="6861981">
                <a:moveTo>
                  <a:pt x="0" y="0"/>
                </a:moveTo>
                <a:lnTo>
                  <a:pt x="53702" y="34428"/>
                </a:lnTo>
                <a:cubicBezTo>
                  <a:pt x="1293128" y="871767"/>
                  <a:pt x="2108016" y="2289785"/>
                  <a:pt x="2108016" y="3898129"/>
                </a:cubicBezTo>
                <a:cubicBezTo>
                  <a:pt x="2108016" y="5023970"/>
                  <a:pt x="1708721" y="6056551"/>
                  <a:pt x="1044021" y="6861981"/>
                </a:cubicBezTo>
              </a:path>
            </a:pathLst>
          </a:cu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CA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15E1BBC-F212-4723-98AC-031B0870B6A2}"/>
              </a:ext>
            </a:extLst>
          </p:cNvPr>
          <p:cNvSpPr txBox="1">
            <a:spLocks/>
          </p:cNvSpPr>
          <p:nvPr userDrawn="1"/>
        </p:nvSpPr>
        <p:spPr>
          <a:xfrm>
            <a:off x="776932" y="3389586"/>
            <a:ext cx="3749348" cy="830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endParaRPr lang="en-CA">
              <a:solidFill>
                <a:schemeClr val="accent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022F1C3-E406-4324-AAF8-4E8C06A48BCC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116388" y="981075"/>
            <a:ext cx="6732587" cy="4921096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0" indent="0" rtl="0">
              <a:lnSpc>
                <a:spcPct val="110000"/>
              </a:lnSpc>
              <a:spcBef>
                <a:spcPts val="18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defTabSz="777875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marL="864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600" i="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marL="1296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400" i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marL="1728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CA" sz="13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  <a:lvl6pPr marL="2088000" indent="-179388">
              <a:lnSpc>
                <a:spcPct val="110000"/>
              </a:lnSpc>
              <a:spcBef>
                <a:spcPts val="0"/>
              </a:spcBef>
              <a:defRPr lang="en-CA" sz="120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  <a:p>
            <a:pPr lvl="5"/>
            <a:r>
              <a:rPr lang="en-CA"/>
              <a:t>Six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3958B41-6867-4B51-B0B4-0500D40B02F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9801" y="6023827"/>
            <a:ext cx="1692702" cy="452048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DEEF7B4A-912C-4BBD-B459-1A74A6419FBE}"/>
              </a:ext>
            </a:extLst>
          </p:cNvPr>
          <p:cNvGrpSpPr/>
          <p:nvPr userDrawn="1"/>
        </p:nvGrpSpPr>
        <p:grpSpPr>
          <a:xfrm>
            <a:off x="848918" y="4711743"/>
            <a:ext cx="774468" cy="1058497"/>
            <a:chOff x="10686026" y="803287"/>
            <a:chExt cx="774468" cy="1058497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46160870-2E54-4880-97DB-D9FE528C647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686026" y="803287"/>
              <a:ext cx="774468" cy="774468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06BDF1C-5BC3-4100-BE6F-098766129566}"/>
                </a:ext>
              </a:extLst>
            </p:cNvPr>
            <p:cNvSpPr txBox="1"/>
            <p:nvPr/>
          </p:nvSpPr>
          <p:spPr>
            <a:xfrm>
              <a:off x="10737848" y="1584785"/>
              <a:ext cx="67082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CA" sz="1200">
                  <a:solidFill>
                    <a:schemeClr val="bg1"/>
                  </a:solidFill>
                  <a:latin typeface="Avenir Next LT Pro Light" panose="020B0304020202020204" pitchFamily="34" charset="0"/>
                  <a:cs typeface="Calibri" panose="020F0502020204030204" pitchFamily="34" charset="0"/>
                </a:rPr>
                <a:t>Energy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EEFFC16-1657-4CD2-B40B-9D8C45072444}"/>
              </a:ext>
            </a:extLst>
          </p:cNvPr>
          <p:cNvGrpSpPr/>
          <p:nvPr userDrawn="1"/>
        </p:nvGrpSpPr>
        <p:grpSpPr>
          <a:xfrm>
            <a:off x="820012" y="774180"/>
            <a:ext cx="832280" cy="1048778"/>
            <a:chOff x="10657120" y="2013528"/>
            <a:chExt cx="832280" cy="1048778"/>
          </a:xfrm>
        </p:grpSpPr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0A7B616A-3071-4761-B317-C198514E4B4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686026" y="2013528"/>
              <a:ext cx="774468" cy="774468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D98558F-B77B-4175-9B73-D2C00D984A03}"/>
                </a:ext>
              </a:extLst>
            </p:cNvPr>
            <p:cNvSpPr txBox="1"/>
            <p:nvPr/>
          </p:nvSpPr>
          <p:spPr>
            <a:xfrm>
              <a:off x="10657120" y="2785307"/>
              <a:ext cx="8322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CA" sz="1200">
                  <a:solidFill>
                    <a:schemeClr val="bg1"/>
                  </a:solidFill>
                  <a:latin typeface="Avenir Next LT Pro Light" panose="020B0304020202020204" pitchFamily="34" charset="0"/>
                  <a:cs typeface="Calibri" panose="020F0502020204030204" pitchFamily="34" charset="0"/>
                </a:rPr>
                <a:t>Buildings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0A2A59A-4D9F-449A-9666-C6F7FD77BD33}"/>
              </a:ext>
            </a:extLst>
          </p:cNvPr>
          <p:cNvGrpSpPr/>
          <p:nvPr userDrawn="1"/>
        </p:nvGrpSpPr>
        <p:grpSpPr>
          <a:xfrm>
            <a:off x="848918" y="2085797"/>
            <a:ext cx="774468" cy="1046089"/>
            <a:chOff x="10686026" y="3223769"/>
            <a:chExt cx="774468" cy="1046089"/>
          </a:xfrm>
        </p:grpSpPr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61FFBB14-FD25-49EB-8F16-0501323100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686026" y="3223769"/>
              <a:ext cx="774468" cy="774468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69CD5F3-B96A-460A-9F94-3C73DF42283E}"/>
                </a:ext>
              </a:extLst>
            </p:cNvPr>
            <p:cNvSpPr txBox="1"/>
            <p:nvPr/>
          </p:nvSpPr>
          <p:spPr>
            <a:xfrm>
              <a:off x="10701203" y="3992859"/>
              <a:ext cx="7441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CA" sz="1200">
                  <a:solidFill>
                    <a:schemeClr val="bg1"/>
                  </a:solidFill>
                  <a:latin typeface="Avenir Next LT Pro Light" panose="020B0304020202020204" pitchFamily="34" charset="0"/>
                  <a:cs typeface="Calibri" panose="020F0502020204030204" pitchFamily="34" charset="0"/>
                </a:rPr>
                <a:t>Mobility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70A2DD0-2717-443A-9DC3-B3A96A55AF28}"/>
              </a:ext>
            </a:extLst>
          </p:cNvPr>
          <p:cNvGrpSpPr/>
          <p:nvPr userDrawn="1"/>
        </p:nvGrpSpPr>
        <p:grpSpPr>
          <a:xfrm>
            <a:off x="848918" y="3394725"/>
            <a:ext cx="774468" cy="1054180"/>
            <a:chOff x="10686026" y="4434011"/>
            <a:chExt cx="774468" cy="1054180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82D95835-F0FD-4321-80D3-54EFF20F3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686026" y="4434011"/>
              <a:ext cx="774468" cy="774468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78AB23A-FF62-4BF2-B4A5-85DB6B11E904}"/>
                </a:ext>
              </a:extLst>
            </p:cNvPr>
            <p:cNvSpPr txBox="1"/>
            <p:nvPr/>
          </p:nvSpPr>
          <p:spPr>
            <a:xfrm>
              <a:off x="10702806" y="5211192"/>
              <a:ext cx="74090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CA" sz="1200">
                  <a:solidFill>
                    <a:schemeClr val="bg1"/>
                  </a:solidFill>
                  <a:latin typeface="Avenir Next LT Pro Light" panose="020B0304020202020204" pitchFamily="34" charset="0"/>
                  <a:cs typeface="Calibri" panose="020F0502020204030204" pitchFamily="34" charset="0"/>
                </a:rPr>
                <a:t>Indust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933536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ED27CC-0B33-4FE1-A057-FB28F1AD0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3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ED27CC-0B33-4FE1-A057-FB28F1AD0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1649536-4237-47E1-B02F-E6A0DC10A96C}"/>
              </a:ext>
            </a:extLst>
          </p:cNvPr>
          <p:cNvSpPr/>
          <p:nvPr userDrawn="1"/>
        </p:nvSpPr>
        <p:spPr>
          <a:xfrm>
            <a:off x="0" y="0"/>
            <a:ext cx="4133631" cy="6858000"/>
          </a:xfrm>
          <a:custGeom>
            <a:avLst/>
            <a:gdLst>
              <a:gd name="connsiteX0" fmla="*/ 0 w 4133631"/>
              <a:gd name="connsiteY0" fmla="*/ 0 h 6858000"/>
              <a:gd name="connsiteX1" fmla="*/ 2031574 w 4133631"/>
              <a:gd name="connsiteY1" fmla="*/ 0 h 6858000"/>
              <a:gd name="connsiteX2" fmla="*/ 2085125 w 4133631"/>
              <a:gd name="connsiteY2" fmla="*/ 34388 h 6858000"/>
              <a:gd name="connsiteX3" fmla="*/ 4133631 w 4133631"/>
              <a:gd name="connsiteY3" fmla="*/ 3893620 h 6858000"/>
              <a:gd name="connsiteX4" fmla="*/ 3072644 w 4133631"/>
              <a:gd name="connsiteY4" fmla="*/ 6854044 h 6858000"/>
              <a:gd name="connsiteX5" fmla="*/ 3069223 w 4133631"/>
              <a:gd name="connsiteY5" fmla="*/ 6858000 h 6858000"/>
              <a:gd name="connsiteX6" fmla="*/ 0 w 413363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3631" h="6858000">
                <a:moveTo>
                  <a:pt x="0" y="0"/>
                </a:moveTo>
                <a:lnTo>
                  <a:pt x="2031574" y="0"/>
                </a:lnTo>
                <a:lnTo>
                  <a:pt x="2085125" y="34388"/>
                </a:lnTo>
                <a:cubicBezTo>
                  <a:pt x="3321047" y="870759"/>
                  <a:pt x="4133631" y="2287136"/>
                  <a:pt x="4133631" y="3893620"/>
                </a:cubicBezTo>
                <a:cubicBezTo>
                  <a:pt x="4133631" y="5018159"/>
                  <a:pt x="3735465" y="6049546"/>
                  <a:pt x="3072644" y="6854044"/>
                </a:cubicBezTo>
                <a:lnTo>
                  <a:pt x="306922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35000">
                <a:schemeClr val="accent1"/>
              </a:gs>
              <a:gs pos="100000">
                <a:srgbClr val="57B9E9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CA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70193A98-E4F5-4562-8E70-73711C009DAA}"/>
              </a:ext>
            </a:extLst>
          </p:cNvPr>
          <p:cNvSpPr/>
          <p:nvPr userDrawn="1"/>
        </p:nvSpPr>
        <p:spPr>
          <a:xfrm>
            <a:off x="2234337" y="0"/>
            <a:ext cx="2108016" cy="6861981"/>
          </a:xfrm>
          <a:custGeom>
            <a:avLst/>
            <a:gdLst>
              <a:gd name="connsiteX0" fmla="*/ 0 w 4921857"/>
              <a:gd name="connsiteY0" fmla="*/ 0 h 6873767"/>
              <a:gd name="connsiteX1" fmla="*/ 2813841 w 4921857"/>
              <a:gd name="connsiteY1" fmla="*/ 0 h 6873767"/>
              <a:gd name="connsiteX2" fmla="*/ 2867543 w 4921857"/>
              <a:gd name="connsiteY2" fmla="*/ 34428 h 6873767"/>
              <a:gd name="connsiteX3" fmla="*/ 4921857 w 4921857"/>
              <a:gd name="connsiteY3" fmla="*/ 3898129 h 6873767"/>
              <a:gd name="connsiteX4" fmla="*/ 3857862 w 4921857"/>
              <a:gd name="connsiteY4" fmla="*/ 6861981 h 6873767"/>
              <a:gd name="connsiteX5" fmla="*/ 3847653 w 4921857"/>
              <a:gd name="connsiteY5" fmla="*/ 6873767 h 6873767"/>
              <a:gd name="connsiteX6" fmla="*/ 0 w 4921857"/>
              <a:gd name="connsiteY6" fmla="*/ 6873767 h 6873767"/>
              <a:gd name="connsiteX0" fmla="*/ 0 w 4921857"/>
              <a:gd name="connsiteY0" fmla="*/ 6873767 h 6873767"/>
              <a:gd name="connsiteX1" fmla="*/ 2813841 w 4921857"/>
              <a:gd name="connsiteY1" fmla="*/ 0 h 6873767"/>
              <a:gd name="connsiteX2" fmla="*/ 2867543 w 4921857"/>
              <a:gd name="connsiteY2" fmla="*/ 34428 h 6873767"/>
              <a:gd name="connsiteX3" fmla="*/ 4921857 w 4921857"/>
              <a:gd name="connsiteY3" fmla="*/ 3898129 h 6873767"/>
              <a:gd name="connsiteX4" fmla="*/ 3857862 w 4921857"/>
              <a:gd name="connsiteY4" fmla="*/ 6861981 h 6873767"/>
              <a:gd name="connsiteX5" fmla="*/ 3847653 w 4921857"/>
              <a:gd name="connsiteY5" fmla="*/ 6873767 h 6873767"/>
              <a:gd name="connsiteX6" fmla="*/ 0 w 4921857"/>
              <a:gd name="connsiteY6" fmla="*/ 6873767 h 6873767"/>
              <a:gd name="connsiteX0" fmla="*/ 1033812 w 2108016"/>
              <a:gd name="connsiteY0" fmla="*/ 6873767 h 6873767"/>
              <a:gd name="connsiteX1" fmla="*/ 0 w 2108016"/>
              <a:gd name="connsiteY1" fmla="*/ 0 h 6873767"/>
              <a:gd name="connsiteX2" fmla="*/ 53702 w 2108016"/>
              <a:gd name="connsiteY2" fmla="*/ 34428 h 6873767"/>
              <a:gd name="connsiteX3" fmla="*/ 2108016 w 2108016"/>
              <a:gd name="connsiteY3" fmla="*/ 3898129 h 6873767"/>
              <a:gd name="connsiteX4" fmla="*/ 1044021 w 2108016"/>
              <a:gd name="connsiteY4" fmla="*/ 6861981 h 6873767"/>
              <a:gd name="connsiteX5" fmla="*/ 1033812 w 2108016"/>
              <a:gd name="connsiteY5" fmla="*/ 6873767 h 6873767"/>
              <a:gd name="connsiteX0" fmla="*/ 0 w 2108016"/>
              <a:gd name="connsiteY0" fmla="*/ 0 h 6965207"/>
              <a:gd name="connsiteX1" fmla="*/ 53702 w 2108016"/>
              <a:gd name="connsiteY1" fmla="*/ 34428 h 6965207"/>
              <a:gd name="connsiteX2" fmla="*/ 2108016 w 2108016"/>
              <a:gd name="connsiteY2" fmla="*/ 3898129 h 6965207"/>
              <a:gd name="connsiteX3" fmla="*/ 1044021 w 2108016"/>
              <a:gd name="connsiteY3" fmla="*/ 6861981 h 6965207"/>
              <a:gd name="connsiteX4" fmla="*/ 1125252 w 2108016"/>
              <a:gd name="connsiteY4" fmla="*/ 6965207 h 6965207"/>
              <a:gd name="connsiteX0" fmla="*/ 0 w 2108016"/>
              <a:gd name="connsiteY0" fmla="*/ 0 h 6861981"/>
              <a:gd name="connsiteX1" fmla="*/ 53702 w 2108016"/>
              <a:gd name="connsiteY1" fmla="*/ 34428 h 6861981"/>
              <a:gd name="connsiteX2" fmla="*/ 2108016 w 2108016"/>
              <a:gd name="connsiteY2" fmla="*/ 3898129 h 6861981"/>
              <a:gd name="connsiteX3" fmla="*/ 1044021 w 2108016"/>
              <a:gd name="connsiteY3" fmla="*/ 6861981 h 6861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8016" h="6861981">
                <a:moveTo>
                  <a:pt x="0" y="0"/>
                </a:moveTo>
                <a:lnTo>
                  <a:pt x="53702" y="34428"/>
                </a:lnTo>
                <a:cubicBezTo>
                  <a:pt x="1293128" y="871767"/>
                  <a:pt x="2108016" y="2289785"/>
                  <a:pt x="2108016" y="3898129"/>
                </a:cubicBezTo>
                <a:cubicBezTo>
                  <a:pt x="2108016" y="5023970"/>
                  <a:pt x="1708721" y="6056551"/>
                  <a:pt x="1044021" y="6861981"/>
                </a:cubicBezTo>
              </a:path>
            </a:pathLst>
          </a:cu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CA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15E1BBC-F212-4723-98AC-031B0870B6A2}"/>
              </a:ext>
            </a:extLst>
          </p:cNvPr>
          <p:cNvSpPr txBox="1">
            <a:spLocks/>
          </p:cNvSpPr>
          <p:nvPr userDrawn="1"/>
        </p:nvSpPr>
        <p:spPr>
          <a:xfrm>
            <a:off x="776932" y="3389586"/>
            <a:ext cx="3749348" cy="830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endParaRPr lang="en-CA">
              <a:solidFill>
                <a:schemeClr val="accent1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57F6AC8-5FD9-47A0-8E85-9576F0CD8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1990650"/>
            <a:ext cx="2484437" cy="28767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022F1C3-E406-4324-AAF8-4E8C06A48BCC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051425" y="981075"/>
            <a:ext cx="5797550" cy="4921096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0" indent="0" rtl="0">
              <a:lnSpc>
                <a:spcPct val="110000"/>
              </a:lnSpc>
              <a:spcBef>
                <a:spcPts val="18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defTabSz="777875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marL="864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600" i="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marL="1296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400" i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marL="1728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CA" sz="13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  <a:lvl6pPr marL="2088000" indent="-179388">
              <a:lnSpc>
                <a:spcPct val="110000"/>
              </a:lnSpc>
              <a:spcBef>
                <a:spcPts val="0"/>
              </a:spcBef>
              <a:defRPr lang="en-CA" sz="120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  <a:p>
            <a:pPr lvl="5"/>
            <a:r>
              <a:rPr lang="en-CA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5456323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B4DFAE6-FA23-4DC9-B748-872616D04E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3361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B4DFAE6-FA23-4DC9-B748-872616D04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70193A98-E4F5-4562-8E70-73711C009DAA}"/>
              </a:ext>
            </a:extLst>
          </p:cNvPr>
          <p:cNvSpPr/>
          <p:nvPr userDrawn="1"/>
        </p:nvSpPr>
        <p:spPr>
          <a:xfrm>
            <a:off x="2234337" y="0"/>
            <a:ext cx="2108016" cy="6861981"/>
          </a:xfrm>
          <a:custGeom>
            <a:avLst/>
            <a:gdLst>
              <a:gd name="connsiteX0" fmla="*/ 0 w 4921857"/>
              <a:gd name="connsiteY0" fmla="*/ 0 h 6873767"/>
              <a:gd name="connsiteX1" fmla="*/ 2813841 w 4921857"/>
              <a:gd name="connsiteY1" fmla="*/ 0 h 6873767"/>
              <a:gd name="connsiteX2" fmla="*/ 2867543 w 4921857"/>
              <a:gd name="connsiteY2" fmla="*/ 34428 h 6873767"/>
              <a:gd name="connsiteX3" fmla="*/ 4921857 w 4921857"/>
              <a:gd name="connsiteY3" fmla="*/ 3898129 h 6873767"/>
              <a:gd name="connsiteX4" fmla="*/ 3857862 w 4921857"/>
              <a:gd name="connsiteY4" fmla="*/ 6861981 h 6873767"/>
              <a:gd name="connsiteX5" fmla="*/ 3847653 w 4921857"/>
              <a:gd name="connsiteY5" fmla="*/ 6873767 h 6873767"/>
              <a:gd name="connsiteX6" fmla="*/ 0 w 4921857"/>
              <a:gd name="connsiteY6" fmla="*/ 6873767 h 6873767"/>
              <a:gd name="connsiteX0" fmla="*/ 0 w 4921857"/>
              <a:gd name="connsiteY0" fmla="*/ 6873767 h 6873767"/>
              <a:gd name="connsiteX1" fmla="*/ 2813841 w 4921857"/>
              <a:gd name="connsiteY1" fmla="*/ 0 h 6873767"/>
              <a:gd name="connsiteX2" fmla="*/ 2867543 w 4921857"/>
              <a:gd name="connsiteY2" fmla="*/ 34428 h 6873767"/>
              <a:gd name="connsiteX3" fmla="*/ 4921857 w 4921857"/>
              <a:gd name="connsiteY3" fmla="*/ 3898129 h 6873767"/>
              <a:gd name="connsiteX4" fmla="*/ 3857862 w 4921857"/>
              <a:gd name="connsiteY4" fmla="*/ 6861981 h 6873767"/>
              <a:gd name="connsiteX5" fmla="*/ 3847653 w 4921857"/>
              <a:gd name="connsiteY5" fmla="*/ 6873767 h 6873767"/>
              <a:gd name="connsiteX6" fmla="*/ 0 w 4921857"/>
              <a:gd name="connsiteY6" fmla="*/ 6873767 h 6873767"/>
              <a:gd name="connsiteX0" fmla="*/ 1033812 w 2108016"/>
              <a:gd name="connsiteY0" fmla="*/ 6873767 h 6873767"/>
              <a:gd name="connsiteX1" fmla="*/ 0 w 2108016"/>
              <a:gd name="connsiteY1" fmla="*/ 0 h 6873767"/>
              <a:gd name="connsiteX2" fmla="*/ 53702 w 2108016"/>
              <a:gd name="connsiteY2" fmla="*/ 34428 h 6873767"/>
              <a:gd name="connsiteX3" fmla="*/ 2108016 w 2108016"/>
              <a:gd name="connsiteY3" fmla="*/ 3898129 h 6873767"/>
              <a:gd name="connsiteX4" fmla="*/ 1044021 w 2108016"/>
              <a:gd name="connsiteY4" fmla="*/ 6861981 h 6873767"/>
              <a:gd name="connsiteX5" fmla="*/ 1033812 w 2108016"/>
              <a:gd name="connsiteY5" fmla="*/ 6873767 h 6873767"/>
              <a:gd name="connsiteX0" fmla="*/ 0 w 2108016"/>
              <a:gd name="connsiteY0" fmla="*/ 0 h 6965207"/>
              <a:gd name="connsiteX1" fmla="*/ 53702 w 2108016"/>
              <a:gd name="connsiteY1" fmla="*/ 34428 h 6965207"/>
              <a:gd name="connsiteX2" fmla="*/ 2108016 w 2108016"/>
              <a:gd name="connsiteY2" fmla="*/ 3898129 h 6965207"/>
              <a:gd name="connsiteX3" fmla="*/ 1044021 w 2108016"/>
              <a:gd name="connsiteY3" fmla="*/ 6861981 h 6965207"/>
              <a:gd name="connsiteX4" fmla="*/ 1125252 w 2108016"/>
              <a:gd name="connsiteY4" fmla="*/ 6965207 h 6965207"/>
              <a:gd name="connsiteX0" fmla="*/ 0 w 2108016"/>
              <a:gd name="connsiteY0" fmla="*/ 0 h 6861981"/>
              <a:gd name="connsiteX1" fmla="*/ 53702 w 2108016"/>
              <a:gd name="connsiteY1" fmla="*/ 34428 h 6861981"/>
              <a:gd name="connsiteX2" fmla="*/ 2108016 w 2108016"/>
              <a:gd name="connsiteY2" fmla="*/ 3898129 h 6861981"/>
              <a:gd name="connsiteX3" fmla="*/ 1044021 w 2108016"/>
              <a:gd name="connsiteY3" fmla="*/ 6861981 h 6861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8016" h="6861981">
                <a:moveTo>
                  <a:pt x="0" y="0"/>
                </a:moveTo>
                <a:lnTo>
                  <a:pt x="53702" y="34428"/>
                </a:lnTo>
                <a:cubicBezTo>
                  <a:pt x="1293128" y="871767"/>
                  <a:pt x="2108016" y="2289785"/>
                  <a:pt x="2108016" y="3898129"/>
                </a:cubicBezTo>
                <a:cubicBezTo>
                  <a:pt x="2108016" y="5023970"/>
                  <a:pt x="1708721" y="6056551"/>
                  <a:pt x="1044021" y="6861981"/>
                </a:cubicBez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CA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4E4C07D9-1193-45A9-9695-E8BC3F7C3563}"/>
              </a:ext>
            </a:extLst>
          </p:cNvPr>
          <p:cNvSpPr/>
          <p:nvPr userDrawn="1"/>
        </p:nvSpPr>
        <p:spPr>
          <a:xfrm>
            <a:off x="0" y="0"/>
            <a:ext cx="4133631" cy="6858000"/>
          </a:xfrm>
          <a:custGeom>
            <a:avLst/>
            <a:gdLst>
              <a:gd name="connsiteX0" fmla="*/ 0 w 4133631"/>
              <a:gd name="connsiteY0" fmla="*/ 0 h 6858000"/>
              <a:gd name="connsiteX1" fmla="*/ 2031574 w 4133631"/>
              <a:gd name="connsiteY1" fmla="*/ 0 h 6858000"/>
              <a:gd name="connsiteX2" fmla="*/ 2085125 w 4133631"/>
              <a:gd name="connsiteY2" fmla="*/ 34388 h 6858000"/>
              <a:gd name="connsiteX3" fmla="*/ 4133631 w 4133631"/>
              <a:gd name="connsiteY3" fmla="*/ 3893620 h 6858000"/>
              <a:gd name="connsiteX4" fmla="*/ 3072644 w 4133631"/>
              <a:gd name="connsiteY4" fmla="*/ 6854044 h 6858000"/>
              <a:gd name="connsiteX5" fmla="*/ 3069223 w 4133631"/>
              <a:gd name="connsiteY5" fmla="*/ 6858000 h 6858000"/>
              <a:gd name="connsiteX6" fmla="*/ 0 w 413363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3631" h="6858000">
                <a:moveTo>
                  <a:pt x="0" y="0"/>
                </a:moveTo>
                <a:lnTo>
                  <a:pt x="2031574" y="0"/>
                </a:lnTo>
                <a:lnTo>
                  <a:pt x="2085125" y="34388"/>
                </a:lnTo>
                <a:cubicBezTo>
                  <a:pt x="3321047" y="870759"/>
                  <a:pt x="4133631" y="2287136"/>
                  <a:pt x="4133631" y="3893620"/>
                </a:cubicBezTo>
                <a:cubicBezTo>
                  <a:pt x="4133631" y="5018159"/>
                  <a:pt x="3735465" y="6049546"/>
                  <a:pt x="3072644" y="6854044"/>
                </a:cubicBezTo>
                <a:lnTo>
                  <a:pt x="30692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CA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15E1BBC-F212-4723-98AC-031B0870B6A2}"/>
              </a:ext>
            </a:extLst>
          </p:cNvPr>
          <p:cNvSpPr txBox="1">
            <a:spLocks/>
          </p:cNvSpPr>
          <p:nvPr userDrawn="1"/>
        </p:nvSpPr>
        <p:spPr>
          <a:xfrm>
            <a:off x="776932" y="3389586"/>
            <a:ext cx="3749348" cy="830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endParaRPr lang="en-CA">
              <a:solidFill>
                <a:schemeClr val="accent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EE63220-70A8-455A-89E4-DB4FC0E7A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1988598"/>
            <a:ext cx="2484437" cy="28767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28B4101-E355-46E3-9150-942D66392C45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051425" y="981075"/>
            <a:ext cx="5797550" cy="4927722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0" indent="0" rtl="0">
              <a:lnSpc>
                <a:spcPct val="110000"/>
              </a:lnSpc>
              <a:spcBef>
                <a:spcPts val="18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defTabSz="777875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marL="864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600" i="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marL="1296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400" i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marL="1728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CA" sz="13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  <a:lvl6pPr marL="2088000" indent="-179388">
              <a:lnSpc>
                <a:spcPct val="110000"/>
              </a:lnSpc>
              <a:spcBef>
                <a:spcPts val="0"/>
              </a:spcBef>
              <a:defRPr lang="en-CA" sz="120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  <a:p>
            <a:pPr lvl="5"/>
            <a:r>
              <a:rPr lang="en-CA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670989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Alternative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80FCC2-C873-48EA-8390-95B8EF12A3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951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80FCC2-C873-48EA-8390-95B8EF12A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AD33C47A-46CA-4333-8215-83388B2BE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818334"/>
            <a:ext cx="10728325" cy="594807"/>
          </a:xfrm>
          <a:prstGeom prst="rect">
            <a:avLst/>
          </a:prstGeom>
        </p:spPr>
        <p:txBody>
          <a:bodyPr vert="horz" lIns="0" tIns="72000" rIns="0" bIns="72000" rtlCol="0" anchor="ctr">
            <a:noAutofit/>
          </a:bodyPr>
          <a:lstStyle>
            <a:lvl1pPr algn="ctr" rtl="0">
              <a:defRPr lang="en-CA" sz="3200" b="1" dirty="0">
                <a:ln>
                  <a:noFill/>
                </a:ln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CA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AAF3455-654C-4A27-B4DF-D4210CEBDF95}"/>
              </a:ext>
            </a:extLst>
          </p:cNvPr>
          <p:cNvSpPr/>
          <p:nvPr userDrawn="1"/>
        </p:nvSpPr>
        <p:spPr>
          <a:xfrm>
            <a:off x="-14468" y="6757146"/>
            <a:ext cx="12206468" cy="100853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6000">
                <a:schemeClr val="accent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 cap="all" baseline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A35304E-BF95-43ED-A338-6F45E79E2C9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31837" y="1736035"/>
            <a:ext cx="10728325" cy="4688032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0" indent="0" rtl="0">
              <a:lnSpc>
                <a:spcPct val="110000"/>
              </a:lnSpc>
              <a:spcBef>
                <a:spcPts val="18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defTabSz="777875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marL="864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600" i="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marL="1296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400" i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marL="1728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CA" sz="13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  <a:lvl6pPr marL="2088000" indent="-179388">
              <a:lnSpc>
                <a:spcPct val="110000"/>
              </a:lnSpc>
              <a:spcBef>
                <a:spcPts val="0"/>
              </a:spcBef>
              <a:defRPr lang="en-CA" sz="120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  <a:p>
            <a:pPr lvl="5"/>
            <a:r>
              <a:rPr lang="en-CA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7217026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mponent Standard Alternative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8B5AAF-7ED2-4380-89A7-5A625F74F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3315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8B5AAF-7ED2-4380-89A7-5A625F74F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AD33C47A-46CA-4333-8215-83388B2BE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667900"/>
            <a:ext cx="10728325" cy="594807"/>
          </a:xfrm>
          <a:prstGeom prst="rect">
            <a:avLst/>
          </a:prstGeom>
        </p:spPr>
        <p:txBody>
          <a:bodyPr vert="horz" lIns="0" tIns="72000" rIns="0" bIns="72000" rtlCol="0" anchor="ctr">
            <a:noAutofit/>
          </a:bodyPr>
          <a:lstStyle>
            <a:lvl1pPr algn="ctr" rtl="0">
              <a:defRPr lang="en-CA" sz="3200" b="1" dirty="0">
                <a:ln>
                  <a:noFill/>
                </a:ln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CA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AAF3455-654C-4A27-B4DF-D4210CEBDF95}"/>
              </a:ext>
            </a:extLst>
          </p:cNvPr>
          <p:cNvSpPr/>
          <p:nvPr userDrawn="1"/>
        </p:nvSpPr>
        <p:spPr>
          <a:xfrm>
            <a:off x="-14468" y="6757146"/>
            <a:ext cx="12206468" cy="100853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6000">
                <a:schemeClr val="accent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 cap="all" baseline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8CD9758-BDD7-44DA-B099-17706596E65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31835" y="2461092"/>
            <a:ext cx="3384553" cy="361429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80000" tIns="1440000" rIns="180000" bIns="72000" rtlCol="0">
            <a:normAutofit/>
          </a:bodyPr>
          <a:lstStyle>
            <a:lvl1pPr marL="0" indent="0" algn="ctr" rtl="0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None/>
              <a:defRPr lang="en-US" sz="1800" b="1" dirty="0">
                <a:solidFill>
                  <a:schemeClr val="accent1"/>
                </a:solidFill>
              </a:defRPr>
            </a:lvl1pPr>
            <a:lvl2pPr marL="354013" indent="-176213" defTabSz="777875" rtl="0">
              <a:lnSpc>
                <a:spcPct val="114000"/>
              </a:lnSpc>
              <a:spcBef>
                <a:spcPts val="600"/>
              </a:spcBef>
              <a:defRPr lang="en-US" sz="14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defTabSz="777875" rtl="0">
              <a:lnSpc>
                <a:spcPct val="114000"/>
              </a:lnSpc>
              <a:spcBef>
                <a:spcPts val="600"/>
              </a:spcBef>
              <a:defRPr lang="en-US" sz="14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defTabSz="777875" rtl="0">
              <a:lnSpc>
                <a:spcPct val="114000"/>
              </a:lnSpc>
              <a:spcBef>
                <a:spcPts val="600"/>
              </a:spcBef>
              <a:defRPr lang="en-US" sz="12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defTabSz="777875" rtl="0">
              <a:lnSpc>
                <a:spcPct val="114000"/>
              </a:lnSpc>
              <a:spcBef>
                <a:spcPts val="600"/>
              </a:spcBef>
              <a:defRPr lang="en-CA" sz="12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959B0E8-0DF0-4C80-944E-711629FF8CA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403726" y="2461092"/>
            <a:ext cx="3384550" cy="361429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80000" tIns="1440000" rIns="180000" bIns="72000" rtlCol="0">
            <a:normAutofit/>
          </a:bodyPr>
          <a:lstStyle>
            <a:lvl1pPr marL="0" indent="0" algn="ctr" rtl="0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None/>
              <a:defRPr lang="en-US" sz="1800" b="1" dirty="0">
                <a:solidFill>
                  <a:schemeClr val="accent1"/>
                </a:solidFill>
              </a:defRPr>
            </a:lvl1pPr>
            <a:lvl2pPr marL="354013" indent="-176213" defTabSz="777875" rtl="0">
              <a:lnSpc>
                <a:spcPct val="114000"/>
              </a:lnSpc>
              <a:spcBef>
                <a:spcPts val="600"/>
              </a:spcBef>
              <a:defRPr lang="en-US" sz="14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defTabSz="777875" rtl="0">
              <a:lnSpc>
                <a:spcPct val="114000"/>
              </a:lnSpc>
              <a:spcBef>
                <a:spcPts val="600"/>
              </a:spcBef>
              <a:defRPr lang="en-US" sz="14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defTabSz="777875" rtl="0">
              <a:lnSpc>
                <a:spcPct val="114000"/>
              </a:lnSpc>
              <a:spcBef>
                <a:spcPts val="600"/>
              </a:spcBef>
              <a:defRPr lang="en-US" sz="12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defTabSz="777875" rtl="0">
              <a:lnSpc>
                <a:spcPct val="114000"/>
              </a:lnSpc>
              <a:spcBef>
                <a:spcPts val="600"/>
              </a:spcBef>
              <a:defRPr lang="en-CA" sz="12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FBC2FE1-4205-43F8-9ACD-B263EE5B2DB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075614" y="2461092"/>
            <a:ext cx="3384549" cy="361429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80000" tIns="1440000" rIns="180000" bIns="72000" rtlCol="0">
            <a:normAutofit/>
          </a:bodyPr>
          <a:lstStyle>
            <a:lvl1pPr marL="0" indent="0" algn="ctr" rtl="0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None/>
              <a:defRPr lang="en-US" sz="1800" b="1" dirty="0">
                <a:solidFill>
                  <a:schemeClr val="accent1"/>
                </a:solidFill>
              </a:defRPr>
            </a:lvl1pPr>
            <a:lvl2pPr marL="354013" indent="-176213" defTabSz="777875" rtl="0">
              <a:lnSpc>
                <a:spcPct val="114000"/>
              </a:lnSpc>
              <a:spcBef>
                <a:spcPts val="600"/>
              </a:spcBef>
              <a:defRPr lang="en-US" sz="14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defTabSz="777875" rtl="0">
              <a:lnSpc>
                <a:spcPct val="114000"/>
              </a:lnSpc>
              <a:spcBef>
                <a:spcPts val="600"/>
              </a:spcBef>
              <a:defRPr lang="en-US" sz="14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defTabSz="777875" rtl="0">
              <a:lnSpc>
                <a:spcPct val="114000"/>
              </a:lnSpc>
              <a:spcBef>
                <a:spcPts val="600"/>
              </a:spcBef>
              <a:defRPr lang="en-US" sz="12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defTabSz="777875" rtl="0">
              <a:lnSpc>
                <a:spcPct val="114000"/>
              </a:lnSpc>
              <a:spcBef>
                <a:spcPts val="600"/>
              </a:spcBef>
              <a:defRPr lang="en-CA" sz="12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A9B2E6A-5E3D-4310-A0E4-981F11FE2EA1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31838" y="1463335"/>
            <a:ext cx="10728326" cy="1532004"/>
          </a:xfrm>
          <a:prstGeom prst="rect">
            <a:avLst/>
          </a:prstGeom>
        </p:spPr>
        <p:txBody>
          <a:bodyPr vert="horz" wrap="square" lIns="360000" tIns="72000" rIns="360000" bIns="72000" rtlCol="0">
            <a:spAutoFit/>
          </a:bodyPr>
          <a:lstStyle>
            <a:lvl1pPr marL="0" indent="0" algn="ctr" rtl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  <a:defRPr lang="en-US" sz="1400" b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1pPr>
            <a:lvl2pPr marL="354013" indent="-260350" algn="ctr" defTabSz="777875" rtl="0">
              <a:lnSpc>
                <a:spcPct val="114000"/>
              </a:lnSpc>
              <a:spcBef>
                <a:spcPts val="600"/>
              </a:spcBef>
              <a:defRPr lang="en-US" sz="12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algn="ctr" defTabSz="777875" rtl="0">
              <a:lnSpc>
                <a:spcPct val="114000"/>
              </a:lnSpc>
              <a:spcBef>
                <a:spcPts val="600"/>
              </a:spcBef>
              <a:defRPr lang="en-US" sz="11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algn="ctr" defTabSz="777875" rtl="0">
              <a:lnSpc>
                <a:spcPct val="114000"/>
              </a:lnSpc>
              <a:spcBef>
                <a:spcPts val="600"/>
              </a:spcBef>
              <a:defRPr lang="en-US" sz="105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algn="ctr" defTabSz="777875" rtl="0">
              <a:lnSpc>
                <a:spcPct val="114000"/>
              </a:lnSpc>
              <a:spcBef>
                <a:spcPts val="600"/>
              </a:spcBef>
              <a:defRPr lang="en-CA" sz="105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73813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8A4342-80EF-4E2D-8448-9ED20727CF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6982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8A4342-80EF-4E2D-8448-9ED20727CF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AD33C47A-46CA-4333-8215-83388B2BE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913478"/>
            <a:ext cx="5435434" cy="594807"/>
          </a:xfrm>
          <a:prstGeom prst="rect">
            <a:avLst/>
          </a:prstGeom>
        </p:spPr>
        <p:txBody>
          <a:bodyPr vert="horz" lIns="0" tIns="72000" rIns="0" bIns="72000" rtlCol="0" anchor="ctr">
            <a:normAutofit/>
          </a:bodyPr>
          <a:lstStyle>
            <a:lvl1pPr rtl="0">
              <a:defRPr lang="en-CA" sz="2800" b="1" dirty="0">
                <a:ln>
                  <a:noFill/>
                </a:ln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CA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1F24344-728D-41F1-B1C1-8A87D23F85B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31836" y="494367"/>
            <a:ext cx="5435435" cy="376891"/>
          </a:xfrm>
          <a:prstGeom prst="rect">
            <a:avLst/>
          </a:prstGeom>
        </p:spPr>
        <p:txBody>
          <a:bodyPr lIns="0" tIns="72000" rIns="0" bIns="72000" anchor="b">
            <a:noAutofit/>
          </a:bodyPr>
          <a:lstStyle>
            <a:lvl1pPr marL="0" indent="0" rtl="0">
              <a:buNone/>
              <a:defRPr lang="en-US" sz="1100" b="1" dirty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C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BB4DE1E-09E3-469F-92BE-A62E34A583E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582334" y="913476"/>
            <a:ext cx="4877825" cy="59480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rtl="0">
              <a:buNone/>
              <a:defRPr sz="1400" b="0" cap="none" baseline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/>
              <a:t>Click to edit master text styl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9691AC9-88A9-49B1-BDF2-67E1D060DE45}"/>
              </a:ext>
            </a:extLst>
          </p:cNvPr>
          <p:cNvCxnSpPr>
            <a:cxnSpLocks/>
          </p:cNvCxnSpPr>
          <p:nvPr userDrawn="1"/>
        </p:nvCxnSpPr>
        <p:spPr>
          <a:xfrm>
            <a:off x="6380629" y="913477"/>
            <a:ext cx="0" cy="594807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3389A4D4-5E73-40D1-BF5E-A4316E63425D}"/>
              </a:ext>
            </a:extLst>
          </p:cNvPr>
          <p:cNvSpPr/>
          <p:nvPr userDrawn="1"/>
        </p:nvSpPr>
        <p:spPr>
          <a:xfrm>
            <a:off x="-14468" y="6757146"/>
            <a:ext cx="12206468" cy="100853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6000">
                <a:schemeClr val="accent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 cap="all" baseline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28660E2-95EA-49B0-80CA-61FC438706E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31837" y="1736035"/>
            <a:ext cx="10728325" cy="4688032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0" indent="0" rtl="0">
              <a:lnSpc>
                <a:spcPct val="110000"/>
              </a:lnSpc>
              <a:spcBef>
                <a:spcPts val="18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defTabSz="777875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marL="864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600" i="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marL="1296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1400" i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marL="1728000" indent="-180000" defTabSz="777875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CA" sz="13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  <a:lvl6pPr marL="2088000" indent="-179388">
              <a:lnSpc>
                <a:spcPct val="110000"/>
              </a:lnSpc>
              <a:spcBef>
                <a:spcPts val="0"/>
              </a:spcBef>
              <a:defRPr lang="en-CA" sz="120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  <a:p>
            <a:pPr lvl="5"/>
            <a:r>
              <a:rPr lang="en-CA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741582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F79EC8-8473-4B7F-94D7-069734FC76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4971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F79EC8-8473-4B7F-94D7-069734FC76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46C66345-BD83-476C-BE02-4BAAD095DB6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10E1531-49CA-45A3-9A02-3C7E4AEF8275}"/>
              </a:ext>
            </a:extLst>
          </p:cNvPr>
          <p:cNvSpPr/>
          <p:nvPr userDrawn="1"/>
        </p:nvSpPr>
        <p:spPr>
          <a:xfrm>
            <a:off x="-3" y="0"/>
            <a:ext cx="12192003" cy="6857999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BB46A85-24D0-4CF6-BF3B-1C015C94A84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40350" y="2709250"/>
            <a:ext cx="6119813" cy="1439500"/>
          </a:xfrm>
          <a:prstGeom prst="rect">
            <a:avLst/>
          </a:prstGeom>
        </p:spPr>
        <p:txBody>
          <a:bodyPr anchor="ctr" anchorCtr="0"/>
          <a:lstStyle>
            <a:lvl1pPr marL="0" indent="0" rtl="0">
              <a:spcAft>
                <a:spcPts val="600"/>
              </a:spcAft>
              <a:buNone/>
              <a:defRPr lang="en-US" sz="3600" b="1" kern="0" spc="60" baseline="0" dirty="0" smtClean="0">
                <a:solidFill>
                  <a:schemeClr val="bg1"/>
                </a:solidFill>
                <a:effectLst/>
                <a:latin typeface="+mj-lt"/>
                <a:ea typeface="ＭＳ Ｐゴシック" charset="-128"/>
                <a:cs typeface="ＭＳ Ｐゴシック" charset="-128"/>
              </a:defRPr>
            </a:lvl1pPr>
            <a:lvl2pPr marL="0" indent="0" rtl="0">
              <a:buNone/>
              <a:defRPr lang="en-US" sz="2000" b="1" kern="0" spc="60" baseline="0" dirty="0" smtClean="0">
                <a:solidFill>
                  <a:schemeClr val="accent4"/>
                </a:solidFill>
                <a:effectLst/>
                <a:latin typeface="+mn-lt"/>
                <a:ea typeface="ＭＳ Ｐゴシック" charset="-128"/>
                <a:cs typeface="ＭＳ Ｐゴシック" charset="-128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224065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6BA91B-466C-4A42-8105-C146E62E3C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5707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6BA91B-466C-4A42-8105-C146E62E3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building, outdoor&#10;&#10;Description automatically generated">
            <a:extLst>
              <a:ext uri="{FF2B5EF4-FFF2-40B4-BE49-F238E27FC236}">
                <a16:creationId xmlns:a16="http://schemas.microsoft.com/office/drawing/2014/main" id="{D0BCF0BA-10B2-4E7E-BAB4-4F62508C6E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051" y="0"/>
            <a:ext cx="12211051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BEA5E95-789F-432F-B52E-1AA961F792DF}"/>
              </a:ext>
            </a:extLst>
          </p:cNvPr>
          <p:cNvSpPr/>
          <p:nvPr userDrawn="1"/>
        </p:nvSpPr>
        <p:spPr>
          <a:xfrm>
            <a:off x="-19052" y="0"/>
            <a:ext cx="12211051" cy="6858000"/>
          </a:xfrm>
          <a:prstGeom prst="rect">
            <a:avLst/>
          </a:prstGeom>
          <a:solidFill>
            <a:srgbClr val="01376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5BFAA6-626D-457F-A5AF-FA88A17C3129}"/>
              </a:ext>
            </a:extLst>
          </p:cNvPr>
          <p:cNvSpPr/>
          <p:nvPr userDrawn="1"/>
        </p:nvSpPr>
        <p:spPr>
          <a:xfrm>
            <a:off x="0" y="0"/>
            <a:ext cx="12192003" cy="6858000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6000">
                <a:srgbClr val="013766">
                  <a:alpha val="6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87028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7B881B7-7BDD-4363-B85A-A14519485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7468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7B881B7-7BDD-4363-B85A-A14519485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3F9FE581-1E05-4808-A5B6-EA266D3C9070}"/>
              </a:ext>
            </a:extLst>
          </p:cNvPr>
          <p:cNvSpPr/>
          <p:nvPr userDrawn="1"/>
        </p:nvSpPr>
        <p:spPr>
          <a:xfrm>
            <a:off x="0" y="0"/>
            <a:ext cx="12192003" cy="6858000"/>
          </a:xfrm>
          <a:prstGeom prst="rect">
            <a:avLst/>
          </a:prstGeom>
          <a:gradFill flip="none" rotWithShape="1">
            <a:gsLst>
              <a:gs pos="100000">
                <a:srgbClr val="57B9E9"/>
              </a:gs>
              <a:gs pos="36000">
                <a:srgbClr val="013766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5224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ildings Res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uilding, outdoor, brick, window&#10;&#10;Description automatically generated">
            <a:extLst>
              <a:ext uri="{FF2B5EF4-FFF2-40B4-BE49-F238E27FC236}">
                <a16:creationId xmlns:a16="http://schemas.microsoft.com/office/drawing/2014/main" id="{0400C95C-EFFD-3D22-E863-71F765F5C4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62" b="653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BF0B84D-317C-212A-551E-63CCEFA41C1F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F79EC8-8473-4B7F-94D7-069734FC76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746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F79EC8-8473-4B7F-94D7-069734FC76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D3FBEEC3-0B16-4C5B-9320-0A7F1A6684B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40350" y="2709250"/>
            <a:ext cx="6119813" cy="1439500"/>
          </a:xfrm>
          <a:prstGeom prst="rect">
            <a:avLst/>
          </a:prstGeom>
        </p:spPr>
        <p:txBody>
          <a:bodyPr anchor="ctr" anchorCtr="0"/>
          <a:lstStyle>
            <a:lvl1pPr marL="0" indent="0" rtl="0">
              <a:spcAft>
                <a:spcPts val="600"/>
              </a:spcAft>
              <a:buNone/>
              <a:defRPr lang="en-US" sz="3600" b="1" kern="0" spc="60" baseline="0" dirty="0" smtClean="0">
                <a:solidFill>
                  <a:schemeClr val="bg1"/>
                </a:solidFill>
                <a:effectLst/>
                <a:latin typeface="+mj-lt"/>
                <a:ea typeface="ＭＳ Ｐゴシック" charset="-128"/>
                <a:cs typeface="ＭＳ Ｐゴシック" charset="-128"/>
              </a:defRPr>
            </a:lvl1pPr>
            <a:lvl2pPr marL="0" indent="0" rtl="0">
              <a:buNone/>
              <a:defRPr lang="en-US" sz="2000" b="1" kern="0" spc="60" baseline="0" dirty="0" smtClean="0">
                <a:solidFill>
                  <a:schemeClr val="accent4"/>
                </a:solidFill>
                <a:effectLst/>
                <a:latin typeface="+mn-lt"/>
                <a:ea typeface="ＭＳ Ｐゴシック" charset="-128"/>
                <a:cs typeface="ＭＳ Ｐゴシック" charset="-128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956097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4284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pos="43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41565BA-F73B-42A9-98DA-2482A30DE9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5516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41565BA-F73B-42A9-98DA-2482A30DE9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>
            <a:extLst>
              <a:ext uri="{FF2B5EF4-FFF2-40B4-BE49-F238E27FC236}">
                <a16:creationId xmlns:a16="http://schemas.microsoft.com/office/drawing/2014/main" id="{422939D2-474F-4B32-9389-278E81377B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3F755E2-BC55-4FB6-8F9D-A389156CFFF6}"/>
              </a:ext>
            </a:extLst>
          </p:cNvPr>
          <p:cNvSpPr/>
          <p:nvPr userDrawn="1"/>
        </p:nvSpPr>
        <p:spPr>
          <a:xfrm>
            <a:off x="0" y="0"/>
            <a:ext cx="12192003" cy="6858000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B777684-184B-4BD0-8265-25FD3975AC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40350" y="2709250"/>
            <a:ext cx="6119813" cy="1439500"/>
          </a:xfrm>
          <a:prstGeom prst="rect">
            <a:avLst/>
          </a:prstGeom>
        </p:spPr>
        <p:txBody>
          <a:bodyPr anchor="ctr" anchorCtr="0"/>
          <a:lstStyle>
            <a:lvl1pPr marL="0" indent="0" rtl="0">
              <a:spcAft>
                <a:spcPts val="600"/>
              </a:spcAft>
              <a:buNone/>
              <a:defRPr lang="en-US" sz="3600" b="1" kern="0" spc="60" baseline="0" dirty="0" smtClean="0">
                <a:solidFill>
                  <a:schemeClr val="bg1"/>
                </a:solidFill>
                <a:effectLst/>
                <a:latin typeface="+mj-lt"/>
                <a:ea typeface="ＭＳ Ｐゴシック" charset="-128"/>
                <a:cs typeface="ＭＳ Ｐゴシック" charset="-128"/>
              </a:defRPr>
            </a:lvl1pPr>
            <a:lvl2pPr marL="0" indent="0" rtl="0">
              <a:buNone/>
              <a:defRPr lang="en-US" sz="2000" b="1" kern="0" spc="60" baseline="0" dirty="0" smtClean="0">
                <a:solidFill>
                  <a:schemeClr val="accent4"/>
                </a:solidFill>
                <a:effectLst/>
                <a:latin typeface="+mn-lt"/>
                <a:ea typeface="ＭＳ Ｐゴシック" charset="-128"/>
                <a:cs typeface="ＭＳ Ｐゴシック" charset="-128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593353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ust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41565BA-F73B-42A9-98DA-2482A30DE9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159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41565BA-F73B-42A9-98DA-2482A30DE9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>
            <a:extLst>
              <a:ext uri="{FF2B5EF4-FFF2-40B4-BE49-F238E27FC236}">
                <a16:creationId xmlns:a16="http://schemas.microsoft.com/office/drawing/2014/main" id="{422939D2-474F-4B32-9389-278E81377B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42" r="-138" b="555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3F755E2-BC55-4FB6-8F9D-A389156CFFF6}"/>
              </a:ext>
            </a:extLst>
          </p:cNvPr>
          <p:cNvSpPr/>
          <p:nvPr userDrawn="1"/>
        </p:nvSpPr>
        <p:spPr>
          <a:xfrm>
            <a:off x="0" y="0"/>
            <a:ext cx="12192003" cy="6857999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A98DADD3-4014-456F-95A1-0E1E484A5B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40350" y="2709250"/>
            <a:ext cx="6119813" cy="1439500"/>
          </a:xfrm>
          <a:prstGeom prst="rect">
            <a:avLst/>
          </a:prstGeom>
        </p:spPr>
        <p:txBody>
          <a:bodyPr anchor="ctr" anchorCtr="0"/>
          <a:lstStyle>
            <a:lvl1pPr marL="0" indent="0" rtl="0">
              <a:spcAft>
                <a:spcPts val="600"/>
              </a:spcAft>
              <a:buNone/>
              <a:defRPr lang="en-US" sz="3600" b="1" kern="0" spc="60" baseline="0" dirty="0" smtClean="0">
                <a:solidFill>
                  <a:schemeClr val="bg1"/>
                </a:solidFill>
                <a:effectLst/>
                <a:latin typeface="+mj-lt"/>
                <a:ea typeface="ＭＳ Ｐゴシック" charset="-128"/>
                <a:cs typeface="ＭＳ Ｐゴシック" charset="-128"/>
              </a:defRPr>
            </a:lvl1pPr>
            <a:lvl2pPr marL="0" indent="0" rtl="0">
              <a:buNone/>
              <a:defRPr lang="en-US" sz="2000" b="1" kern="0" spc="60" baseline="0" dirty="0" smtClean="0">
                <a:solidFill>
                  <a:schemeClr val="accent4"/>
                </a:solidFill>
                <a:effectLst/>
                <a:latin typeface="+mn-lt"/>
                <a:ea typeface="ＭＳ Ｐゴシック" charset="-128"/>
                <a:cs typeface="ＭＳ Ｐゴシック" charset="-128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25169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41565BA-F73B-42A9-98DA-2482A30DE9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6398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41565BA-F73B-42A9-98DA-2482A30DE9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A97A76-7018-4117-A259-C75E0917CB0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2" b="781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B09409D-2BB4-4E77-9A3E-0C13E9A910E5}"/>
              </a:ext>
            </a:extLst>
          </p:cNvPr>
          <p:cNvSpPr/>
          <p:nvPr userDrawn="1"/>
        </p:nvSpPr>
        <p:spPr>
          <a:xfrm>
            <a:off x="-3" y="0"/>
            <a:ext cx="12192003" cy="6857999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  <p:sp>
        <p:nvSpPr>
          <p:cNvPr id="6" name="Rectangle 25"/>
          <p:cNvSpPr>
            <a:spLocks noChangeArrowheads="1"/>
          </p:cNvSpPr>
          <p:nvPr/>
        </p:nvSpPr>
        <p:spPr bwMode="auto">
          <a:xfrm>
            <a:off x="609600" y="4294188"/>
            <a:ext cx="619760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 rtl="0">
              <a:spcBef>
                <a:spcPct val="20000"/>
              </a:spcBef>
              <a:buClr>
                <a:srgbClr val="336699"/>
              </a:buClr>
              <a:buSzPct val="60000"/>
              <a:buFont typeface="Wingdings" pitchFamily="2" charset="2"/>
              <a:buNone/>
              <a:defRPr/>
            </a:pPr>
            <a:endParaRPr lang="en-CA" sz="240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  <a:cs typeface="+mn-cs"/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2D7CFB5B-BF75-4F49-A674-49FC2F2BF85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40350" y="2709250"/>
            <a:ext cx="6119813" cy="1439500"/>
          </a:xfrm>
          <a:prstGeom prst="rect">
            <a:avLst/>
          </a:prstGeom>
        </p:spPr>
        <p:txBody>
          <a:bodyPr anchor="ctr" anchorCtr="0"/>
          <a:lstStyle>
            <a:lvl1pPr marL="0" indent="0" rtl="0">
              <a:spcAft>
                <a:spcPts val="600"/>
              </a:spcAft>
              <a:buNone/>
              <a:defRPr lang="en-US" sz="3600" b="1" kern="0" spc="60" baseline="0" dirty="0" smtClean="0">
                <a:solidFill>
                  <a:schemeClr val="bg1"/>
                </a:solidFill>
                <a:effectLst/>
                <a:latin typeface="+mj-lt"/>
                <a:ea typeface="ＭＳ Ｐゴシック" charset="-128"/>
                <a:cs typeface="ＭＳ Ｐゴシック" charset="-128"/>
              </a:defRPr>
            </a:lvl1pPr>
            <a:lvl2pPr marL="0" indent="0" rtl="0">
              <a:buNone/>
              <a:defRPr lang="en-US" sz="2000" b="1" kern="0" spc="60" baseline="0" dirty="0" smtClean="0">
                <a:solidFill>
                  <a:schemeClr val="accent4"/>
                </a:solidFill>
                <a:effectLst/>
                <a:latin typeface="+mn-lt"/>
                <a:ea typeface="ＭＳ Ｐゴシック" charset="-128"/>
                <a:cs typeface="ＭＳ Ｐゴシック" charset="-128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6743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C4D71F-39D3-42AE-95A5-A9A27D8092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708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C4D71F-39D3-42AE-95A5-A9A27D8092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579B2EAB-72BC-456F-800E-BCFA56E57288}"/>
              </a:ext>
            </a:extLst>
          </p:cNvPr>
          <p:cNvSpPr/>
          <p:nvPr userDrawn="1"/>
        </p:nvSpPr>
        <p:spPr>
          <a:xfrm rot="10800000">
            <a:off x="-1" y="0"/>
            <a:ext cx="5051425" cy="6858000"/>
          </a:xfrm>
          <a:prstGeom prst="rect">
            <a:avLst/>
          </a:prstGeom>
          <a:gradFill flip="none" rotWithShape="1">
            <a:gsLst>
              <a:gs pos="100000">
                <a:srgbClr val="57B9E9"/>
              </a:gs>
              <a:gs pos="35000">
                <a:srgbClr val="013766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4FEBDE-4592-4700-BE85-7A80B07C4098}"/>
              </a:ext>
            </a:extLst>
          </p:cNvPr>
          <p:cNvSpPr/>
          <p:nvPr userDrawn="1"/>
        </p:nvSpPr>
        <p:spPr>
          <a:xfrm>
            <a:off x="12116587" y="0"/>
            <a:ext cx="75413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E061AB-8535-4B49-A2DB-EB859C3F5F3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951538" y="549275"/>
            <a:ext cx="5508625" cy="5759450"/>
          </a:xfrm>
          <a:prstGeom prst="rect">
            <a:avLst/>
          </a:prstGeom>
        </p:spPr>
        <p:txBody>
          <a:bodyPr vert="horz" lIns="36000" tIns="72000" rIns="0" bIns="72000" rtlCol="0">
            <a:normAutofit/>
          </a:bodyPr>
          <a:lstStyle>
            <a:lvl1pPr marL="0" indent="0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lang="en-US" sz="2000" b="1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1pPr>
            <a:lvl2pPr marL="354013" indent="-260350" defTabSz="777875" rtl="0">
              <a:lnSpc>
                <a:spcPct val="114000"/>
              </a:lnSpc>
              <a:spcBef>
                <a:spcPts val="600"/>
              </a:spcBef>
              <a:def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2pPr>
            <a:lvl3pPr defTabSz="777875" rtl="0">
              <a:lnSpc>
                <a:spcPct val="114000"/>
              </a:lnSpc>
              <a:spcBef>
                <a:spcPts val="600"/>
              </a:spcBef>
              <a:defRPr lang="en-US" sz="16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3pPr>
            <a:lvl4pPr defTabSz="777875" rtl="0">
              <a:lnSpc>
                <a:spcPct val="114000"/>
              </a:lnSpc>
              <a:spcBef>
                <a:spcPts val="600"/>
              </a:spcBef>
              <a:defRPr lang="en-US" sz="14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4pPr>
            <a:lvl5pPr defTabSz="777875" rtl="0">
              <a:lnSpc>
                <a:spcPct val="114000"/>
              </a:lnSpc>
              <a:spcBef>
                <a:spcPts val="600"/>
              </a:spcBef>
              <a:defRPr lang="en-CA" sz="1400" dirty="0">
                <a:solidFill>
                  <a:schemeClr val="tx2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15437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F79EC8-8473-4B7F-94D7-069734FC76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279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F79EC8-8473-4B7F-94D7-069734FC76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">
            <a:extLst>
              <a:ext uri="{FF2B5EF4-FFF2-40B4-BE49-F238E27FC236}">
                <a16:creationId xmlns:a16="http://schemas.microsoft.com/office/drawing/2014/main" id="{35049952-BE24-4BD8-B865-74258DF9F1A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2885" y="2366"/>
            <a:ext cx="12192003" cy="6853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10E1531-49CA-45A3-9A02-3C7E4AEF8275}"/>
              </a:ext>
            </a:extLst>
          </p:cNvPr>
          <p:cNvSpPr/>
          <p:nvPr userDrawn="1"/>
        </p:nvSpPr>
        <p:spPr>
          <a:xfrm>
            <a:off x="-3" y="0"/>
            <a:ext cx="12192003" cy="6858000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  <p:sp>
        <p:nvSpPr>
          <p:cNvPr id="6" name="Rectangle 25"/>
          <p:cNvSpPr>
            <a:spLocks noChangeArrowheads="1"/>
          </p:cNvSpPr>
          <p:nvPr/>
        </p:nvSpPr>
        <p:spPr bwMode="auto">
          <a:xfrm>
            <a:off x="609600" y="4294188"/>
            <a:ext cx="619760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 rtl="0">
              <a:spcBef>
                <a:spcPct val="20000"/>
              </a:spcBef>
              <a:buClr>
                <a:srgbClr val="336699"/>
              </a:buClr>
              <a:buSzPct val="60000"/>
              <a:buFont typeface="Wingdings" pitchFamily="2" charset="2"/>
              <a:buNone/>
              <a:defRPr/>
            </a:pPr>
            <a:endParaRPr lang="en-CA" sz="240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8F7F99-EF7A-498C-A8DA-33956D5B097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2170" y="273444"/>
            <a:ext cx="2036618" cy="99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6968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ildings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CCB6F01-1306-45EF-976D-878264D2FC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4291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CCB6F01-1306-45EF-976D-878264D2F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90518C7-3065-453E-B4CC-79A6DFB6F6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450A5AA-B477-4F2A-A4D2-E4B307915421}"/>
              </a:ext>
            </a:extLst>
          </p:cNvPr>
          <p:cNvSpPr/>
          <p:nvPr userDrawn="1"/>
        </p:nvSpPr>
        <p:spPr>
          <a:xfrm>
            <a:off x="-3" y="0"/>
            <a:ext cx="12192003" cy="6858000"/>
          </a:xfrm>
          <a:prstGeom prst="rect">
            <a:avLst/>
          </a:prstGeom>
          <a:gradFill flip="none" rotWithShape="1">
            <a:gsLst>
              <a:gs pos="100000">
                <a:srgbClr val="57B9E9">
                  <a:alpha val="90000"/>
                </a:srgbClr>
              </a:gs>
              <a:gs pos="35000">
                <a:srgbClr val="013766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C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7E4C37-1093-49E2-B1D9-55222EAF17A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2170" y="273444"/>
            <a:ext cx="2036618" cy="99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755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11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tags" Target="../tags/tag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oleObject" Target="../embeddings/oleObject18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oleObject" Target="../embeddings/oleObject27.bin"/><Relationship Id="rId5" Type="http://schemas.openxmlformats.org/officeDocument/2006/relationships/tags" Target="../tags/tag43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5B98BE-DE9A-415E-8F6B-5113712750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09105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65B98BE-DE9A-415E-8F6B-5113712750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14971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57" r:id="rId2"/>
    <p:sldLayoutId id="2147483865" r:id="rId3"/>
    <p:sldLayoutId id="2147483761" r:id="rId4"/>
    <p:sldLayoutId id="2147483863" r:id="rId5"/>
    <p:sldLayoutId id="2147483760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5">
          <p15:clr>
            <a:srgbClr val="F26B43"/>
          </p15:clr>
        </p15:guide>
        <p15:guide id="2" pos="461">
          <p15:clr>
            <a:srgbClr val="F26B43"/>
          </p15:clr>
        </p15:guide>
        <p15:guide id="25" pos="7219">
          <p15:clr>
            <a:srgbClr val="F26B43"/>
          </p15:clr>
        </p15:guide>
        <p15:guide id="26" pos="7265">
          <p15:clr>
            <a:srgbClr val="F26B43"/>
          </p15:clr>
        </p15:guide>
        <p15:guide id="29" orient="horz" pos="2160">
          <p15:clr>
            <a:srgbClr val="F26B43"/>
          </p15:clr>
        </p15:guide>
        <p15:guide id="30" orient="horz" pos="3974">
          <p15:clr>
            <a:srgbClr val="F26B43"/>
          </p15:clr>
        </p15:guide>
        <p15:guide id="31" orient="horz" pos="346">
          <p15:clr>
            <a:srgbClr val="F26B43"/>
          </p15:clr>
        </p15:guide>
        <p15:guide id="32" orient="horz" pos="300">
          <p15:clr>
            <a:srgbClr val="F26B43"/>
          </p15:clr>
        </p15:guide>
        <p15:guide id="33" orient="horz" pos="40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5B98BE-DE9A-415E-8F6B-5113712750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69237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5" imgH="426" progId="TCLayout.ActiveDocument.1">
                  <p:embed/>
                </p:oleObj>
              </mc:Choice>
              <mc:Fallback>
                <p:oleObj name="think-cell Slide" r:id="rId12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65B98BE-DE9A-415E-8F6B-5113712750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22378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763" r:id="rId2"/>
    <p:sldLayoutId id="2147483848" r:id="rId3"/>
    <p:sldLayoutId id="2147483866" r:id="rId4"/>
    <p:sldLayoutId id="2147483849" r:id="rId5"/>
    <p:sldLayoutId id="2147483864" r:id="rId6"/>
    <p:sldLayoutId id="2147483847" r:id="rId7"/>
    <p:sldLayoutId id="2147483878" r:id="rId8"/>
    <p:sldLayoutId id="2147483882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5" userDrawn="1">
          <p15:clr>
            <a:srgbClr val="F26B43"/>
          </p15:clr>
        </p15:guide>
        <p15:guide id="2" pos="461" userDrawn="1">
          <p15:clr>
            <a:srgbClr val="F26B43"/>
          </p15:clr>
        </p15:guide>
        <p15:guide id="25" pos="7219" userDrawn="1">
          <p15:clr>
            <a:srgbClr val="F26B43"/>
          </p15:clr>
        </p15:guide>
        <p15:guide id="26" pos="7265" userDrawn="1">
          <p15:clr>
            <a:srgbClr val="F26B43"/>
          </p15:clr>
        </p15:guide>
        <p15:guide id="28" orient="horz" pos="2160" userDrawn="1">
          <p15:clr>
            <a:srgbClr val="F26B43"/>
          </p15:clr>
        </p15:guide>
        <p15:guide id="29" orient="horz" pos="300" userDrawn="1">
          <p15:clr>
            <a:srgbClr val="F26B43"/>
          </p15:clr>
        </p15:guide>
        <p15:guide id="30" orient="horz" pos="346" userDrawn="1">
          <p15:clr>
            <a:srgbClr val="F26B43"/>
          </p15:clr>
        </p15:guide>
        <p15:guide id="31" orient="horz" pos="3974" userDrawn="1">
          <p15:clr>
            <a:srgbClr val="F26B43"/>
          </p15:clr>
        </p15:guide>
        <p15:guide id="32" orient="horz" pos="4020" userDrawn="1">
          <p15:clr>
            <a:srgbClr val="F26B43"/>
          </p15:clr>
        </p15:guide>
        <p15:guide id="33" pos="3749" userDrawn="1">
          <p15:clr>
            <a:srgbClr val="F26B43"/>
          </p15:clr>
        </p15:guide>
        <p15:guide id="34" pos="318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5B98BE-DE9A-415E-8F6B-5113712750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82056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65B98BE-DE9A-415E-8F6B-5113712750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41173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1" userDrawn="1">
          <p15:clr>
            <a:srgbClr val="F26B43"/>
          </p15:clr>
        </p15:guide>
        <p15:guide id="3" pos="846" userDrawn="1">
          <p15:clr>
            <a:srgbClr val="F26B43"/>
          </p15:clr>
        </p15:guide>
        <p15:guide id="4" pos="1028" userDrawn="1">
          <p15:clr>
            <a:srgbClr val="F26B43"/>
          </p15:clr>
        </p15:guide>
        <p15:guide id="5" pos="1436" userDrawn="1">
          <p15:clr>
            <a:srgbClr val="F26B43"/>
          </p15:clr>
        </p15:guide>
        <p15:guide id="6" pos="1617" userDrawn="1">
          <p15:clr>
            <a:srgbClr val="F26B43"/>
          </p15:clr>
        </p15:guide>
        <p15:guide id="7" pos="2026" userDrawn="1">
          <p15:clr>
            <a:srgbClr val="F26B43"/>
          </p15:clr>
        </p15:guide>
        <p15:guide id="8" pos="2207" userDrawn="1">
          <p15:clr>
            <a:srgbClr val="F26B43"/>
          </p15:clr>
        </p15:guide>
        <p15:guide id="9" pos="2570" userDrawn="1">
          <p15:clr>
            <a:srgbClr val="F26B43"/>
          </p15:clr>
        </p15:guide>
        <p15:guide id="10" pos="2774" userDrawn="1">
          <p15:clr>
            <a:srgbClr val="F26B43"/>
          </p15:clr>
        </p15:guide>
        <p15:guide id="11" pos="3160" userDrawn="1">
          <p15:clr>
            <a:srgbClr val="F26B43"/>
          </p15:clr>
        </p15:guide>
        <p15:guide id="12" pos="3364" userDrawn="1">
          <p15:clr>
            <a:srgbClr val="F26B43"/>
          </p15:clr>
        </p15:guide>
        <p15:guide id="13" pos="3749" userDrawn="1">
          <p15:clr>
            <a:srgbClr val="F26B43"/>
          </p15:clr>
        </p15:guide>
        <p15:guide id="14" pos="3931" userDrawn="1">
          <p15:clr>
            <a:srgbClr val="F26B43"/>
          </p15:clr>
        </p15:guide>
        <p15:guide id="15" pos="4316" userDrawn="1">
          <p15:clr>
            <a:srgbClr val="F26B43"/>
          </p15:clr>
        </p15:guide>
        <p15:guide id="16" pos="4520" userDrawn="1">
          <p15:clr>
            <a:srgbClr val="F26B43"/>
          </p15:clr>
        </p15:guide>
        <p15:guide id="17" pos="4906" userDrawn="1">
          <p15:clr>
            <a:srgbClr val="F26B43"/>
          </p15:clr>
        </p15:guide>
        <p15:guide id="18" pos="5110" userDrawn="1">
          <p15:clr>
            <a:srgbClr val="F26B43"/>
          </p15:clr>
        </p15:guide>
        <p15:guide id="19" pos="5473" userDrawn="1">
          <p15:clr>
            <a:srgbClr val="F26B43"/>
          </p15:clr>
        </p15:guide>
        <p15:guide id="20" pos="5677" userDrawn="1">
          <p15:clr>
            <a:srgbClr val="F26B43"/>
          </p15:clr>
        </p15:guide>
        <p15:guide id="21" pos="6063" userDrawn="1">
          <p15:clr>
            <a:srgbClr val="F26B43"/>
          </p15:clr>
        </p15:guide>
        <p15:guide id="22" pos="6267" userDrawn="1">
          <p15:clr>
            <a:srgbClr val="F26B43"/>
          </p15:clr>
        </p15:guide>
        <p15:guide id="23" pos="6652" userDrawn="1">
          <p15:clr>
            <a:srgbClr val="F26B43"/>
          </p15:clr>
        </p15:guide>
        <p15:guide id="24" pos="6834" userDrawn="1">
          <p15:clr>
            <a:srgbClr val="F26B43"/>
          </p15:clr>
        </p15:guide>
        <p15:guide id="25" pos="7219" userDrawn="1">
          <p15:clr>
            <a:srgbClr val="F26B43"/>
          </p15:clr>
        </p15:guide>
        <p15:guide id="26" pos="7287" userDrawn="1">
          <p15:clr>
            <a:srgbClr val="F26B43"/>
          </p15:clr>
        </p15:guide>
        <p15:guide id="27" orient="horz" pos="2160" userDrawn="1">
          <p15:clr>
            <a:srgbClr val="F26B43"/>
          </p15:clr>
        </p15:guide>
        <p15:guide id="28" pos="415" userDrawn="1">
          <p15:clr>
            <a:srgbClr val="F26B43"/>
          </p15:clr>
        </p15:guide>
        <p15:guide id="29" orient="horz" pos="3974" userDrawn="1">
          <p15:clr>
            <a:srgbClr val="F26B43"/>
          </p15:clr>
        </p15:guide>
        <p15:guide id="30" orient="horz" pos="402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5B98BE-DE9A-415E-8F6B-5113712750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91449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6" progId="TCLayout.ActiveDocument.1">
                  <p:embed/>
                </p:oleObj>
              </mc:Choice>
              <mc:Fallback>
                <p:oleObj name="think-cell Slide" r:id="rId1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65B98BE-DE9A-415E-8F6B-5113712750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1685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7" r:id="rId2"/>
    <p:sldLayoutId id="2147483859" r:id="rId3"/>
    <p:sldLayoutId id="2147483861" r:id="rId4"/>
    <p:sldLayoutId id="2147483854" r:id="rId5"/>
    <p:sldLayoutId id="2147483855" r:id="rId6"/>
    <p:sldLayoutId id="2147483706" r:id="rId7"/>
    <p:sldLayoutId id="2147483737" r:id="rId8"/>
    <p:sldLayoutId id="2147483705" r:id="rId9"/>
    <p:sldLayoutId id="2147483874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5">
          <p15:clr>
            <a:srgbClr val="F26B43"/>
          </p15:clr>
        </p15:guide>
        <p15:guide id="2" pos="461">
          <p15:clr>
            <a:srgbClr val="F26B43"/>
          </p15:clr>
        </p15:guide>
        <p15:guide id="3" pos="846">
          <p15:clr>
            <a:srgbClr val="F26B43"/>
          </p15:clr>
        </p15:guide>
        <p15:guide id="4" pos="1028">
          <p15:clr>
            <a:srgbClr val="F26B43"/>
          </p15:clr>
        </p15:guide>
        <p15:guide id="5" pos="1436">
          <p15:clr>
            <a:srgbClr val="F26B43"/>
          </p15:clr>
        </p15:guide>
        <p15:guide id="6" pos="1617">
          <p15:clr>
            <a:srgbClr val="F26B43"/>
          </p15:clr>
        </p15:guide>
        <p15:guide id="7" pos="2026">
          <p15:clr>
            <a:srgbClr val="F26B43"/>
          </p15:clr>
        </p15:guide>
        <p15:guide id="8" pos="2207">
          <p15:clr>
            <a:srgbClr val="F26B43"/>
          </p15:clr>
        </p15:guide>
        <p15:guide id="9" pos="2593">
          <p15:clr>
            <a:srgbClr val="F26B43"/>
          </p15:clr>
        </p15:guide>
        <p15:guide id="10" pos="2774">
          <p15:clr>
            <a:srgbClr val="F26B43"/>
          </p15:clr>
        </p15:guide>
        <p15:guide id="11" pos="3182">
          <p15:clr>
            <a:srgbClr val="F26B43"/>
          </p15:clr>
        </p15:guide>
        <p15:guide id="12" pos="3364">
          <p15:clr>
            <a:srgbClr val="F26B43"/>
          </p15:clr>
        </p15:guide>
        <p15:guide id="13" pos="3749">
          <p15:clr>
            <a:srgbClr val="F26B43"/>
          </p15:clr>
        </p15:guide>
        <p15:guide id="14" pos="3931">
          <p15:clr>
            <a:srgbClr val="F26B43"/>
          </p15:clr>
        </p15:guide>
        <p15:guide id="15" pos="4316">
          <p15:clr>
            <a:srgbClr val="F26B43"/>
          </p15:clr>
        </p15:guide>
        <p15:guide id="16" pos="4498">
          <p15:clr>
            <a:srgbClr val="F26B43"/>
          </p15:clr>
        </p15:guide>
        <p15:guide id="17" pos="4906">
          <p15:clr>
            <a:srgbClr val="F26B43"/>
          </p15:clr>
        </p15:guide>
        <p15:guide id="18" pos="5087">
          <p15:clr>
            <a:srgbClr val="F26B43"/>
          </p15:clr>
        </p15:guide>
        <p15:guide id="19" pos="5473">
          <p15:clr>
            <a:srgbClr val="F26B43"/>
          </p15:clr>
        </p15:guide>
        <p15:guide id="20" pos="5654">
          <p15:clr>
            <a:srgbClr val="F26B43"/>
          </p15:clr>
        </p15:guide>
        <p15:guide id="21" pos="6063">
          <p15:clr>
            <a:srgbClr val="F26B43"/>
          </p15:clr>
        </p15:guide>
        <p15:guide id="22" pos="6244">
          <p15:clr>
            <a:srgbClr val="F26B43"/>
          </p15:clr>
        </p15:guide>
        <p15:guide id="23" pos="6652">
          <p15:clr>
            <a:srgbClr val="F26B43"/>
          </p15:clr>
        </p15:guide>
        <p15:guide id="24" pos="6834">
          <p15:clr>
            <a:srgbClr val="F26B43"/>
          </p15:clr>
        </p15:guide>
        <p15:guide id="25" pos="7219">
          <p15:clr>
            <a:srgbClr val="F26B43"/>
          </p15:clr>
        </p15:guide>
        <p15:guide id="26" pos="7265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pos="3840">
          <p15:clr>
            <a:srgbClr val="F26B43"/>
          </p15:clr>
        </p15:guide>
        <p15:guide id="30" orient="horz" pos="4042">
          <p15:clr>
            <a:srgbClr val="F26B43"/>
          </p15:clr>
        </p15:guide>
        <p15:guide id="31" orient="horz" pos="4088">
          <p15:clr>
            <a:srgbClr val="F26B43"/>
          </p15:clr>
        </p15:guide>
        <p15:guide id="32" orient="horz" pos="799">
          <p15:clr>
            <a:srgbClr val="F26B43"/>
          </p15:clr>
        </p15:guide>
        <p15:guide id="33" orient="horz" pos="61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78D8D35-F9D3-4941-A0C3-DCBF4AEB59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29441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78D8D35-F9D3-4941-A0C3-DCBF4AEB5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22561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33" r:id="rId2"/>
    <p:sldLayoutId id="214748385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5" userDrawn="1">
          <p15:clr>
            <a:srgbClr val="F26B43"/>
          </p15:clr>
        </p15:guide>
        <p15:guide id="2" pos="461" userDrawn="1">
          <p15:clr>
            <a:srgbClr val="F26B43"/>
          </p15:clr>
        </p15:guide>
        <p15:guide id="3" pos="846" userDrawn="1">
          <p15:clr>
            <a:srgbClr val="F26B43"/>
          </p15:clr>
        </p15:guide>
        <p15:guide id="4" pos="1028" userDrawn="1">
          <p15:clr>
            <a:srgbClr val="F26B43"/>
          </p15:clr>
        </p15:guide>
        <p15:guide id="5" pos="1436" userDrawn="1">
          <p15:clr>
            <a:srgbClr val="F26B43"/>
          </p15:clr>
        </p15:guide>
        <p15:guide id="6" pos="1617" userDrawn="1">
          <p15:clr>
            <a:srgbClr val="F26B43"/>
          </p15:clr>
        </p15:guide>
        <p15:guide id="7" pos="2003" userDrawn="1">
          <p15:clr>
            <a:srgbClr val="F26B43"/>
          </p15:clr>
        </p15:guide>
        <p15:guide id="8" pos="2184" userDrawn="1">
          <p15:clr>
            <a:srgbClr val="F26B43"/>
          </p15:clr>
        </p15:guide>
        <p15:guide id="9" pos="2570" userDrawn="1">
          <p15:clr>
            <a:srgbClr val="F26B43"/>
          </p15:clr>
        </p15:guide>
        <p15:guide id="10" pos="2774" userDrawn="1">
          <p15:clr>
            <a:srgbClr val="F26B43"/>
          </p15:clr>
        </p15:guide>
        <p15:guide id="11" pos="3160" userDrawn="1">
          <p15:clr>
            <a:srgbClr val="F26B43"/>
          </p15:clr>
        </p15:guide>
        <p15:guide id="12" pos="3364" userDrawn="1">
          <p15:clr>
            <a:srgbClr val="F26B43"/>
          </p15:clr>
        </p15:guide>
        <p15:guide id="13" pos="3749" userDrawn="1">
          <p15:clr>
            <a:srgbClr val="F26B43"/>
          </p15:clr>
        </p15:guide>
        <p15:guide id="14" pos="3931" userDrawn="1">
          <p15:clr>
            <a:srgbClr val="F26B43"/>
          </p15:clr>
        </p15:guide>
        <p15:guide id="15" pos="4316" userDrawn="1">
          <p15:clr>
            <a:srgbClr val="F26B43"/>
          </p15:clr>
        </p15:guide>
        <p15:guide id="16" pos="4520" userDrawn="1">
          <p15:clr>
            <a:srgbClr val="F26B43"/>
          </p15:clr>
        </p15:guide>
        <p15:guide id="17" pos="4906" userDrawn="1">
          <p15:clr>
            <a:srgbClr val="F26B43"/>
          </p15:clr>
        </p15:guide>
        <p15:guide id="18" pos="5110" userDrawn="1">
          <p15:clr>
            <a:srgbClr val="F26B43"/>
          </p15:clr>
        </p15:guide>
        <p15:guide id="19" pos="5473" userDrawn="1">
          <p15:clr>
            <a:srgbClr val="F26B43"/>
          </p15:clr>
        </p15:guide>
        <p15:guide id="20" pos="5677" userDrawn="1">
          <p15:clr>
            <a:srgbClr val="F26B43"/>
          </p15:clr>
        </p15:guide>
        <p15:guide id="21" pos="6063" userDrawn="1">
          <p15:clr>
            <a:srgbClr val="F26B43"/>
          </p15:clr>
        </p15:guide>
        <p15:guide id="22" pos="6267" userDrawn="1">
          <p15:clr>
            <a:srgbClr val="F26B43"/>
          </p15:clr>
        </p15:guide>
        <p15:guide id="23" pos="6652" userDrawn="1">
          <p15:clr>
            <a:srgbClr val="F26B43"/>
          </p15:clr>
        </p15:guide>
        <p15:guide id="24" pos="6834" userDrawn="1">
          <p15:clr>
            <a:srgbClr val="F26B43"/>
          </p15:clr>
        </p15:guide>
        <p15:guide id="25" pos="7219" userDrawn="1">
          <p15:clr>
            <a:srgbClr val="F26B43"/>
          </p15:clr>
        </p15:guide>
        <p15:guide id="26" pos="7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8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2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7439EE8-BBEA-464C-8870-216DDDC4AB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871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A7439EE8-BBEA-464C-8870-216DDDC4AB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7900CBD-E90E-4E4D-A7DF-E60FF6FE3691}"/>
              </a:ext>
            </a:extLst>
          </p:cNvPr>
          <p:cNvCxnSpPr>
            <a:cxnSpLocks/>
          </p:cNvCxnSpPr>
          <p:nvPr/>
        </p:nvCxnSpPr>
        <p:spPr>
          <a:xfrm>
            <a:off x="5016500" y="2541155"/>
            <a:ext cx="0" cy="1775691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8F835FE-AFB0-4D9D-8BCC-AEB49052CE0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40350" y="2709250"/>
            <a:ext cx="6443661" cy="14395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3600" b="1" i="0" u="none" strike="noStrike" kern="0" cap="none" spc="6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ＭＳ Ｐゴシック" charset="-128"/>
                <a:cs typeface="ＭＳ Ｐゴシック" charset="-128"/>
              </a:rPr>
              <a:t>Climate Change Mitigation and Resilience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2000" b="1" i="0" u="none" strike="noStrike" kern="0" cap="none" spc="6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ＭＳ Ｐゴシック" charset="-128"/>
                <a:cs typeface="ＭＳ Ｐゴシック" charset="-128"/>
              </a:rPr>
              <a:t>STAB Technical Consultant Presentation</a:t>
            </a: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5D6E285-0A28-409F-BAE4-CC61DB5D60E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25100" y="5458495"/>
            <a:ext cx="2912849" cy="87178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91DD529-77D3-4FAA-897B-C1A384BAD1A8}"/>
              </a:ext>
            </a:extLst>
          </p:cNvPr>
          <p:cNvSpPr txBox="1"/>
          <p:nvPr/>
        </p:nvSpPr>
        <p:spPr>
          <a:xfrm>
            <a:off x="658813" y="6012418"/>
            <a:ext cx="3671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kern="0" dirty="0">
                <a:solidFill>
                  <a:schemeClr val="bg1"/>
                </a:solidFill>
              </a:rPr>
              <a:t>STAB Meeting</a:t>
            </a:r>
            <a:endParaRPr lang="en-CA" sz="1800" kern="0" dirty="0">
              <a:solidFill>
                <a:schemeClr val="bg1"/>
              </a:solidFill>
              <a:effectLst/>
              <a:latin typeface="+mn-lt"/>
            </a:endParaRPr>
          </a:p>
          <a:p>
            <a:r>
              <a:rPr lang="en-CA" kern="0" dirty="0">
                <a:solidFill>
                  <a:schemeClr val="bg1"/>
                </a:solidFill>
              </a:rPr>
              <a:t>March 24</a:t>
            </a:r>
            <a:r>
              <a:rPr lang="en-CA" sz="1800" kern="0" dirty="0">
                <a:solidFill>
                  <a:schemeClr val="bg1"/>
                </a:solidFill>
                <a:effectLst/>
                <a:latin typeface="+mn-lt"/>
              </a:rPr>
              <a:t>, 2026</a:t>
            </a:r>
            <a:endParaRPr lang="en-CA" dirty="0">
              <a:solidFill>
                <a:schemeClr val="bg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1D895C4-CC8A-483C-8D6E-9DCCF513EC73}"/>
              </a:ext>
            </a:extLst>
          </p:cNvPr>
          <p:cNvGrpSpPr/>
          <p:nvPr/>
        </p:nvGrpSpPr>
        <p:grpSpPr>
          <a:xfrm>
            <a:off x="12578519" y="1438332"/>
            <a:ext cx="4307731" cy="2878514"/>
            <a:chOff x="12839776" y="1693486"/>
            <a:chExt cx="4307731" cy="287851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00DB2C8-6076-4C70-A04C-D412F3B324E3}"/>
                </a:ext>
              </a:extLst>
            </p:cNvPr>
            <p:cNvSpPr/>
            <p:nvPr/>
          </p:nvSpPr>
          <p:spPr>
            <a:xfrm>
              <a:off x="12839776" y="1693486"/>
              <a:ext cx="4307731" cy="2878514"/>
            </a:xfrm>
            <a:prstGeom prst="rect">
              <a:avLst/>
            </a:prstGeom>
            <a:solidFill>
              <a:srgbClr val="E7F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288000" rIns="180000" bIns="180000" rtlCol="0" anchor="t" anchorCtr="0"/>
            <a:lstStyle/>
            <a:p>
              <a:pPr lvl="0" algn="ctr">
                <a:defRPr/>
              </a:pPr>
              <a:r>
                <a:rPr lang="en-CA" sz="1050" b="1">
                  <a:solidFill>
                    <a:schemeClr val="accent1"/>
                  </a:solidFill>
                </a:rPr>
                <a:t>Selecting a cover according to focus area</a:t>
              </a:r>
            </a:p>
            <a:p>
              <a:pPr lvl="0" algn="ctr">
                <a:defRPr/>
              </a:pPr>
              <a:endParaRPr lang="en-CA" sz="1050">
                <a:solidFill>
                  <a:schemeClr val="accent1"/>
                </a:solidFill>
              </a:endParaRPr>
            </a:p>
            <a:p>
              <a:pPr lvl="0" algn="ctr">
                <a:defRPr/>
              </a:pPr>
              <a:r>
                <a:rPr lang="en-CA" sz="1050">
                  <a:solidFill>
                    <a:schemeClr val="accent1"/>
                  </a:solidFill>
                </a:rPr>
                <a:t>Covers and Section breaks according to our focus Areas are available in the dropdown of the Layout menu 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B71A596-A5C6-4759-8A87-E91AC8C695F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3101336" y="2952300"/>
              <a:ext cx="3840946" cy="1364546"/>
            </a:xfrm>
            <a:prstGeom prst="rect">
              <a:avLst/>
            </a:prstGeom>
          </p:spPr>
        </p:pic>
      </p:grpSp>
      <p:pic>
        <p:nvPicPr>
          <p:cNvPr id="2" name="image8.png" descr="A blue and yellow shield with a anchor&#10;&#10;Description automatically generated">
            <a:extLst>
              <a:ext uri="{FF2B5EF4-FFF2-40B4-BE49-F238E27FC236}">
                <a16:creationId xmlns:a16="http://schemas.microsoft.com/office/drawing/2014/main" id="{551087CF-7584-C095-6A01-677021B9F4B8}"/>
              </a:ext>
            </a:extLst>
          </p:cNvPr>
          <p:cNvPicPr/>
          <p:nvPr/>
        </p:nvPicPr>
        <p:blipFill>
          <a:blip r:embed="rId8"/>
          <a:srcRect/>
          <a:stretch>
            <a:fillRect/>
          </a:stretch>
        </p:blipFill>
        <p:spPr>
          <a:xfrm>
            <a:off x="1917142" y="2232343"/>
            <a:ext cx="2304852" cy="2393313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2554619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E54790-669E-D038-0FD7-75F9C1664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B Student-Supported Resear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46D930-7F76-9ED7-A5D3-D64C21F9383A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2742FB-A4FA-FC11-D835-D2762EB1374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70186" y="2105718"/>
            <a:ext cx="11460163" cy="5146529"/>
          </a:xfr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en-US" sz="2000" dirty="0"/>
              <a:t>Fall 2025: Climate &amp; Clean Energy Legislation in Rhode Island</a:t>
            </a:r>
            <a:r>
              <a:rPr lang="en-US" sz="2000" b="0" dirty="0"/>
              <a:t> - history &amp; opposition</a:t>
            </a:r>
          </a:p>
          <a:p>
            <a:pPr marL="702900" lvl="1" indent="-342900">
              <a:buFontTx/>
              <a:buChar char="-"/>
            </a:pPr>
            <a:r>
              <a:rPr lang="en-US" b="0" dirty="0"/>
              <a:t>Important foundational information for </a:t>
            </a:r>
            <a:r>
              <a:rPr lang="en-US" dirty="0"/>
              <a:t>STAB to fulfill statutory role: </a:t>
            </a:r>
            <a:r>
              <a:rPr lang="en-US" sz="1600" dirty="0"/>
              <a:t>“</a:t>
            </a:r>
            <a:r>
              <a:rPr lang="en-US" dirty="0"/>
              <a:t>Evaluate to what extent the state’s policies and programs aimed at mitigating and adapting to climate change are supported by the best available science and technical information.”</a:t>
            </a:r>
            <a:endParaRPr lang="en-US" sz="1600" b="0" dirty="0"/>
          </a:p>
          <a:p>
            <a:pPr marL="342900" indent="-342900">
              <a:buFontTx/>
              <a:buChar char="-"/>
            </a:pPr>
            <a:r>
              <a:rPr lang="en-US" sz="2000" dirty="0"/>
              <a:t>Winter 2026: Transportation Sector Decarbonization</a:t>
            </a:r>
            <a:r>
              <a:rPr lang="en-US" sz="2000" b="0" dirty="0"/>
              <a:t> opportunities research</a:t>
            </a:r>
          </a:p>
          <a:p>
            <a:pPr marL="702900" lvl="1" indent="-342900">
              <a:buFontTx/>
              <a:buChar char="-"/>
            </a:pPr>
            <a:r>
              <a:rPr lang="en-US" sz="1600" dirty="0"/>
              <a:t>Addressing STAB top-line concern with Climate Strategy’s transportation modeling limitations </a:t>
            </a:r>
          </a:p>
          <a:p>
            <a:pPr marL="342900" indent="-342900">
              <a:buFontTx/>
              <a:buChar char="-"/>
            </a:pPr>
            <a:r>
              <a:rPr lang="en-US" sz="2000" dirty="0"/>
              <a:t>Spring 2026: Climate Superfund Legislative Proposal</a:t>
            </a:r>
            <a:r>
              <a:rPr lang="en-US" sz="2000" b="0" dirty="0"/>
              <a:t> –RI legislators’ request to Timmons</a:t>
            </a:r>
          </a:p>
          <a:p>
            <a:pPr marL="702900" lvl="1" indent="-342900">
              <a:buFontTx/>
              <a:buChar char="-"/>
            </a:pPr>
            <a:r>
              <a:rPr lang="en-US" sz="1600" dirty="0"/>
              <a:t>Opportunity to directly inform the technical basis for an active legislative propos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258182-D050-AD9B-2994-4D91C26BDA1F}"/>
              </a:ext>
            </a:extLst>
          </p:cNvPr>
          <p:cNvSpPr txBox="1"/>
          <p:nvPr/>
        </p:nvSpPr>
        <p:spPr>
          <a:xfrm>
            <a:off x="306113" y="1212413"/>
            <a:ext cx="11579773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cross research efforts, STAB C-Team has provided methodological advice and reference materials to students, primarily through short, targeted meetings (typically no more than 1 hour per week)</a:t>
            </a:r>
          </a:p>
        </p:txBody>
      </p:sp>
    </p:spTree>
    <p:extLst>
      <p:ext uri="{BB962C8B-B14F-4D97-AF65-F5344CB8AC3E}">
        <p14:creationId xmlns:p14="http://schemas.microsoft.com/office/powerpoint/2010/main" val="31344887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FA51C5-F130-38BD-FDF7-5CF38DAAEC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5CF6373-C181-F5BE-E8CE-E04859BBF8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5CF6373-C181-F5BE-E8CE-E04859BBF8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CF011B90-0188-0CF3-6BC7-A77FA2D0CE74}"/>
              </a:ext>
            </a:extLst>
          </p:cNvPr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2196983752"/>
              </p:ext>
            </p:extLst>
          </p:nvPr>
        </p:nvGraphicFramePr>
        <p:xfrm>
          <a:off x="5802489" y="966311"/>
          <a:ext cx="5310161" cy="476480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96508">
                  <a:extLst>
                    <a:ext uri="{9D8B030D-6E8A-4147-A177-3AD203B41FA5}">
                      <a16:colId xmlns:a16="http://schemas.microsoft.com/office/drawing/2014/main" val="442182139"/>
                    </a:ext>
                  </a:extLst>
                </a:gridCol>
                <a:gridCol w="232416">
                  <a:extLst>
                    <a:ext uri="{9D8B030D-6E8A-4147-A177-3AD203B41FA5}">
                      <a16:colId xmlns:a16="http://schemas.microsoft.com/office/drawing/2014/main" val="3012599409"/>
                    </a:ext>
                  </a:extLst>
                </a:gridCol>
                <a:gridCol w="4481237">
                  <a:extLst>
                    <a:ext uri="{9D8B030D-6E8A-4147-A177-3AD203B41FA5}">
                      <a16:colId xmlns:a16="http://schemas.microsoft.com/office/drawing/2014/main" val="3935648058"/>
                    </a:ext>
                  </a:extLst>
                </a:gridCol>
              </a:tblGrid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0" spc="0" baseline="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Resilience Plan Update &amp; Next Step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40375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0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643326"/>
                  </a:ext>
                </a:extLst>
              </a:tr>
              <a:tr h="63295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STAB February Statement Follow-U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7122464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78162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2026 Climate Science Repor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0750713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179994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Student Supported STAB Research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275110"/>
                  </a:ext>
                </a:extLst>
              </a:tr>
              <a:tr h="422776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6499652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1" spc="0" baseline="0" dirty="0">
                          <a:solidFill>
                            <a:schemeClr val="accent1"/>
                          </a:solidFill>
                        </a:rPr>
                        <a:t>C-Team Scope of Work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4399107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A3E7CA4-36ED-A66D-4428-833C882E7A3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04641" y="2732088"/>
            <a:ext cx="3378200" cy="1112837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12548E-2212-9CB0-9992-15057B948BFA}"/>
              </a:ext>
            </a:extLst>
          </p:cNvPr>
          <p:cNvSpPr txBox="1"/>
          <p:nvPr/>
        </p:nvSpPr>
        <p:spPr>
          <a:xfrm>
            <a:off x="12512048" y="3160747"/>
            <a:ext cx="3760064" cy="1806019"/>
          </a:xfrm>
          <a:prstGeom prst="rect">
            <a:avLst/>
          </a:prstGeom>
          <a:solidFill>
            <a:srgbClr val="E7F2FF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CA" sz="1050" b="1">
                <a:solidFill>
                  <a:schemeClr val="accent1"/>
                </a:solidFill>
              </a:rPr>
              <a:t>To add/delete a row</a:t>
            </a:r>
          </a:p>
          <a:p>
            <a:pPr algn="ctr"/>
            <a:endParaRPr lang="en-CA" sz="1050">
              <a:solidFill>
                <a:schemeClr val="accent1"/>
              </a:solidFill>
            </a:endParaRPr>
          </a:p>
          <a:p>
            <a:pPr algn="ctr"/>
            <a:r>
              <a:rPr lang="en-CA" sz="1050">
                <a:solidFill>
                  <a:schemeClr val="accent1"/>
                </a:solidFill>
              </a:rPr>
              <a:t>To add, select the table and go to Layout &gt; Insert Below (click twice). Remove shading in the extra row by going to Table Design &gt; Shading &gt; No Fill</a:t>
            </a:r>
          </a:p>
          <a:p>
            <a:pPr algn="ctr"/>
            <a:endParaRPr lang="en-CA" sz="1050">
              <a:solidFill>
                <a:schemeClr val="accent1"/>
              </a:solidFill>
            </a:endParaRPr>
          </a:p>
          <a:p>
            <a:pPr algn="ctr"/>
            <a:r>
              <a:rPr lang="en-CA" sz="1050">
                <a:solidFill>
                  <a:schemeClr val="accent1"/>
                </a:solidFill>
              </a:rPr>
              <a:t>To delete, select the rows to remove and go to Layout &gt; Delete &gt; Delete Rows</a:t>
            </a:r>
            <a:br>
              <a:rPr lang="en-CA" sz="1050">
                <a:solidFill>
                  <a:schemeClr val="accent1"/>
                </a:solidFill>
              </a:rPr>
            </a:br>
            <a:endParaRPr lang="en-CA" sz="1050">
              <a:solidFill>
                <a:schemeClr val="accent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8D0DF63-463B-1508-59D1-FB18B9466EAB}"/>
              </a:ext>
            </a:extLst>
          </p:cNvPr>
          <p:cNvGrpSpPr/>
          <p:nvPr/>
        </p:nvGrpSpPr>
        <p:grpSpPr>
          <a:xfrm>
            <a:off x="12512048" y="5132215"/>
            <a:ext cx="3760064" cy="4072745"/>
            <a:chOff x="12600662" y="1821618"/>
            <a:chExt cx="3760064" cy="407274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37CB5C1-DCFD-9408-31D9-86C4661359F2}"/>
                </a:ext>
              </a:extLst>
            </p:cNvPr>
            <p:cNvSpPr txBox="1"/>
            <p:nvPr/>
          </p:nvSpPr>
          <p:spPr>
            <a:xfrm>
              <a:off x="12600662" y="1821618"/>
              <a:ext cx="3760064" cy="4072745"/>
            </a:xfrm>
            <a:prstGeom prst="rect">
              <a:avLst/>
            </a:prstGeom>
            <a:solidFill>
              <a:srgbClr val="E7F2FF"/>
            </a:solidFill>
          </p:spPr>
          <p:txBody>
            <a:bodyPr wrap="square" tIns="360000" rtlCol="0" anchor="t" anchorCtr="0">
              <a:noAutofit/>
            </a:bodyPr>
            <a:lstStyle/>
            <a:p>
              <a:pPr algn="ctr"/>
              <a:r>
                <a:rPr lang="en-CA" sz="1050" b="1">
                  <a:solidFill>
                    <a:schemeClr val="accent1"/>
                  </a:solidFill>
                </a:rPr>
                <a:t>To highlight a section in the agenda</a:t>
              </a:r>
            </a:p>
            <a:p>
              <a:pPr algn="ctr"/>
              <a:endParaRPr lang="en-CA" sz="1050">
                <a:solidFill>
                  <a:schemeClr val="accent1"/>
                </a:solidFill>
              </a:endParaRPr>
            </a:p>
            <a:p>
              <a:pPr algn="ctr"/>
              <a:r>
                <a:rPr lang="en-CA" sz="1050">
                  <a:solidFill>
                    <a:schemeClr val="accent1"/>
                  </a:solidFill>
                </a:rPr>
                <a:t>Top highlight, select the section and go to Table Design &gt; Shading &gt; lightest shade of Yellow (Gold, Accent 4, Lighter 80%). Add bold to the highlighted section.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1697C96-9B44-9603-26F1-A2BD478D44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897669" y="3296739"/>
              <a:ext cx="3166049" cy="2198328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084A10E-F952-8419-7AEA-0DAF82EBBB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671242" y="966311"/>
            <a:ext cx="3441674" cy="184995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F09361C9-5446-9B1F-F4A4-523D8D226F29}"/>
              </a:ext>
            </a:extLst>
          </p:cNvPr>
          <p:cNvGrpSpPr/>
          <p:nvPr/>
        </p:nvGrpSpPr>
        <p:grpSpPr>
          <a:xfrm>
            <a:off x="12512048" y="-413092"/>
            <a:ext cx="3760064" cy="3410291"/>
            <a:chOff x="12512048" y="-413092"/>
            <a:chExt cx="3760064" cy="34102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F54BDB5-C3D0-D997-DEEB-E48931BADC6B}"/>
                </a:ext>
              </a:extLst>
            </p:cNvPr>
            <p:cNvSpPr txBox="1"/>
            <p:nvPr/>
          </p:nvSpPr>
          <p:spPr>
            <a:xfrm>
              <a:off x="12512048" y="-413092"/>
              <a:ext cx="3760064" cy="3410291"/>
            </a:xfrm>
            <a:prstGeom prst="rect">
              <a:avLst/>
            </a:prstGeom>
            <a:solidFill>
              <a:srgbClr val="E7F2FF"/>
            </a:solidFill>
          </p:spPr>
          <p:txBody>
            <a:bodyPr wrap="square" tIns="252000" rtlCol="0" anchor="t" anchorCtr="0">
              <a:noAutofit/>
            </a:bodyPr>
            <a:lstStyle/>
            <a:p>
              <a:pPr algn="ctr"/>
              <a:r>
                <a:rPr lang="en-CA" sz="1050" b="1">
                  <a:solidFill>
                    <a:schemeClr val="accent1"/>
                  </a:solidFill>
                </a:rPr>
                <a:t>How to create an interactive Agenda</a:t>
              </a:r>
            </a:p>
            <a:p>
              <a:pPr algn="ctr"/>
              <a:endParaRPr lang="en-CA" sz="1050">
                <a:solidFill>
                  <a:schemeClr val="accent1"/>
                </a:solidFill>
              </a:endParaRPr>
            </a:p>
            <a:p>
              <a:pPr algn="ctr"/>
              <a:r>
                <a:rPr lang="en-CA" sz="1050">
                  <a:solidFill>
                    <a:schemeClr val="accent1"/>
                  </a:solidFill>
                </a:rPr>
                <a:t>Select the TOC item then right-click Link. In the left hand panel, select Place in this document. Select the slide you want to link to and press OK. The agenda item will now be hyperlinked. </a:t>
              </a:r>
              <a:br>
                <a:rPr lang="en-CA" sz="1050">
                  <a:solidFill>
                    <a:schemeClr val="accent1"/>
                  </a:solidFill>
                </a:rPr>
              </a:br>
              <a:endParaRPr lang="en-CA" sz="1050">
                <a:solidFill>
                  <a:schemeClr val="accent1"/>
                </a:solidFill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9D7EBDE-F077-FD47-DD40-C232941ABF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671242" y="966311"/>
              <a:ext cx="3441674" cy="1849953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BFE57A58-FE48-6994-43B9-7587ABEE8BC3}"/>
              </a:ext>
            </a:extLst>
          </p:cNvPr>
          <p:cNvSpPr txBox="1"/>
          <p:nvPr/>
        </p:nvSpPr>
        <p:spPr>
          <a:xfrm>
            <a:off x="11750358" y="6411912"/>
            <a:ext cx="408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accent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6421956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541678-9748-24F0-C5B9-45496078EF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EAABE5B-F701-8DCA-6FA5-8E34651186B3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668232" y="1499299"/>
            <a:ext cx="8032899" cy="5146529"/>
          </a:xfrm>
        </p:spPr>
        <p:txBody>
          <a:bodyPr/>
          <a:lstStyle/>
          <a:p>
            <a:r>
              <a:rPr lang="en-US" b="0" dirty="0"/>
              <a:t>Recent tasks include: </a:t>
            </a:r>
          </a:p>
          <a:p>
            <a:pPr marL="702900" lvl="1" indent="-342900"/>
            <a:r>
              <a:rPr lang="en-US" dirty="0"/>
              <a:t>Support </a:t>
            </a:r>
            <a:r>
              <a:rPr lang="en-US" b="1" dirty="0"/>
              <a:t>student-led research </a:t>
            </a:r>
            <a:r>
              <a:rPr lang="en-US" dirty="0"/>
              <a:t>on several RI climate-related topics</a:t>
            </a:r>
          </a:p>
          <a:p>
            <a:pPr marL="702900" lvl="1" indent="-342900"/>
            <a:r>
              <a:rPr lang="en-US" dirty="0"/>
              <a:t>Comprehensive </a:t>
            </a:r>
            <a:r>
              <a:rPr lang="en-US" b="1" dirty="0"/>
              <a:t>review of draft Resilient Rhody plan</a:t>
            </a:r>
          </a:p>
          <a:p>
            <a:pPr marL="702900" lvl="1" indent="-342900"/>
            <a:r>
              <a:rPr lang="en-US" b="1" dirty="0"/>
              <a:t>Attend EC4 meeting</a:t>
            </a:r>
            <a:r>
              <a:rPr lang="en-US" dirty="0"/>
              <a:t> during which Resilient Rhody was adopted</a:t>
            </a:r>
            <a:endParaRPr lang="en-US" b="1" dirty="0"/>
          </a:p>
          <a:p>
            <a:pPr lvl="1" indent="0">
              <a:buNone/>
            </a:pPr>
            <a:endParaRPr lang="en-US" dirty="0"/>
          </a:p>
          <a:p>
            <a:r>
              <a:rPr lang="en-US" b="0" dirty="0"/>
              <a:t>Upcoming tasks include:</a:t>
            </a:r>
          </a:p>
          <a:p>
            <a:pPr marL="702900" lvl="1" indent="-342900"/>
            <a:r>
              <a:rPr lang="en-US" dirty="0"/>
              <a:t>Support STAB review and input regarding </a:t>
            </a:r>
            <a:r>
              <a:rPr lang="en-US" b="1" dirty="0"/>
              <a:t>technical impacts of near-term climate &amp; energy related policies &amp; actions </a:t>
            </a:r>
            <a:r>
              <a:rPr lang="en-US" dirty="0"/>
              <a:t>in RI</a:t>
            </a:r>
          </a:p>
          <a:p>
            <a:pPr marL="702900" lvl="1" indent="-342900"/>
            <a:r>
              <a:rPr lang="en-US" b="1" dirty="0"/>
              <a:t>STAB Annual Scientific Report </a:t>
            </a:r>
            <a:r>
              <a:rPr lang="en-US" dirty="0"/>
              <a:t>– develop project plan, begin work</a:t>
            </a:r>
          </a:p>
          <a:p>
            <a:pPr marL="702900" lvl="1" indent="-342900"/>
            <a:r>
              <a:rPr lang="en-US" dirty="0"/>
              <a:t>Prepare for STAB Budget request to EC4 – for discussion in future STAB meeting</a:t>
            </a:r>
          </a:p>
          <a:p>
            <a:pPr marL="342900" indent="-342900"/>
            <a:endParaRPr lang="en-US" b="0" dirty="0"/>
          </a:p>
          <a:p>
            <a:pPr marL="342900" indent="-342900"/>
            <a:endParaRPr lang="en-US" b="0" dirty="0"/>
          </a:p>
          <a:p>
            <a:pPr marL="342900" indent="-342900"/>
            <a:endParaRPr lang="en-US" b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404FF3-778B-B0DE-ED52-2F93832D1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nd Upcoming Wor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19B5D3-E485-878D-9028-E556F00323DD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en-US" dirty="0"/>
              <a:t>Consultant Team Scope of Wor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C262DC-29B4-6CA4-E616-16896EB78ED2}"/>
              </a:ext>
            </a:extLst>
          </p:cNvPr>
          <p:cNvSpPr txBox="1"/>
          <p:nvPr/>
        </p:nvSpPr>
        <p:spPr>
          <a:xfrm>
            <a:off x="11750358" y="6411912"/>
            <a:ext cx="408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accent1"/>
                </a:solidFill>
              </a:rPr>
              <a:t>3</a:t>
            </a:r>
          </a:p>
        </p:txBody>
      </p:sp>
      <p:pic>
        <p:nvPicPr>
          <p:cNvPr id="7" name="Graphic 6" descr="Clipboard Partially Checked outline">
            <a:extLst>
              <a:ext uri="{FF2B5EF4-FFF2-40B4-BE49-F238E27FC236}">
                <a16:creationId xmlns:a16="http://schemas.microsoft.com/office/drawing/2014/main" id="{B7232036-6F8F-2831-A911-339462A128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3399" y="2168925"/>
            <a:ext cx="2840664" cy="2840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9232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DFEC314-6930-4CE7-AE8F-F1B41F0E28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DFEC314-6930-4CE7-AE8F-F1B41F0E28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E14299D3-70FA-453F-9E8E-5BBD93B7BCB9}"/>
              </a:ext>
            </a:extLst>
          </p:cNvPr>
          <p:cNvGrpSpPr/>
          <p:nvPr/>
        </p:nvGrpSpPr>
        <p:grpSpPr>
          <a:xfrm>
            <a:off x="12526645" y="283791"/>
            <a:ext cx="2585307" cy="2819390"/>
            <a:chOff x="9230128" y="1835731"/>
            <a:chExt cx="2585307" cy="281939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EEBDDC7-CC3C-46F4-95DE-3D80262C8080}"/>
                </a:ext>
              </a:extLst>
            </p:cNvPr>
            <p:cNvSpPr/>
            <p:nvPr/>
          </p:nvSpPr>
          <p:spPr>
            <a:xfrm>
              <a:off x="9230128" y="1835731"/>
              <a:ext cx="2585307" cy="2819390"/>
            </a:xfrm>
            <a:prstGeom prst="rect">
              <a:avLst/>
            </a:prstGeom>
            <a:solidFill>
              <a:srgbClr val="E7F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288000" rIns="180000" bIns="180000" rtlCol="0" anchor="t" anchorCtr="0"/>
            <a:lstStyle/>
            <a:p>
              <a:pPr lvl="0" algn="ctr">
                <a:defRPr/>
              </a:pPr>
              <a:r>
                <a:rPr lang="en-CA" sz="1050" b="1">
                  <a:solidFill>
                    <a:schemeClr val="accent1"/>
                  </a:solidFill>
                </a:rPr>
                <a:t>Title and horizontal </a:t>
              </a:r>
              <a:br>
                <a:rPr lang="en-CA" sz="1050" b="1">
                  <a:solidFill>
                    <a:schemeClr val="accent1"/>
                  </a:solidFill>
                </a:rPr>
              </a:br>
              <a:r>
                <a:rPr lang="en-CA" sz="1050" b="1">
                  <a:solidFill>
                    <a:schemeClr val="accent1"/>
                  </a:solidFill>
                </a:rPr>
                <a:t>yellow line spacing</a:t>
              </a:r>
            </a:p>
            <a:p>
              <a:pPr lvl="0" algn="ctr">
                <a:defRPr/>
              </a:pPr>
              <a:endParaRPr lang="en-CA" sz="1050">
                <a:solidFill>
                  <a:schemeClr val="accent1"/>
                </a:solidFill>
              </a:endParaRPr>
            </a:p>
            <a:p>
              <a:pPr lvl="0" algn="ctr">
                <a:defRPr/>
              </a:pPr>
              <a:r>
                <a:rPr lang="en-CA" sz="1050">
                  <a:solidFill>
                    <a:schemeClr val="accent1"/>
                  </a:solidFill>
                </a:rPr>
                <a:t>The space between a yellow line and a title is equivalent to a horizontal, </a:t>
              </a:r>
              <a:br>
                <a:rPr lang="en-CA" sz="1050">
                  <a:solidFill>
                    <a:schemeClr val="accent1"/>
                  </a:solidFill>
                </a:rPr>
              </a:br>
              <a:r>
                <a:rPr lang="en-CA" sz="1050" b="1">
                  <a:solidFill>
                    <a:schemeClr val="accent1"/>
                  </a:solidFill>
                </a:rPr>
                <a:t>lowercase d </a:t>
              </a:r>
              <a:r>
                <a:rPr lang="en-CA" sz="1050">
                  <a:solidFill>
                    <a:schemeClr val="accent1"/>
                  </a:solidFill>
                </a:rPr>
                <a:t>set to Century Gothic Bold and same font size as the title</a:t>
              </a:r>
            </a:p>
          </p:txBody>
        </p:sp>
        <p:pic>
          <p:nvPicPr>
            <p:cNvPr id="20" name="Picture 19" descr="Logo&#10;&#10;Description automatically generated">
              <a:extLst>
                <a:ext uri="{FF2B5EF4-FFF2-40B4-BE49-F238E27FC236}">
                  <a16:creationId xmlns:a16="http://schemas.microsoft.com/office/drawing/2014/main" id="{9D333516-9F14-49CC-B2F9-657278F056C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57948" y="3429000"/>
              <a:ext cx="1329665" cy="941052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E9CAA570-86B2-4CC5-9C5A-6FEB970F5EF4}"/>
              </a:ext>
            </a:extLst>
          </p:cNvPr>
          <p:cNvSpPr/>
          <p:nvPr/>
        </p:nvSpPr>
        <p:spPr>
          <a:xfrm>
            <a:off x="12536985" y="3446620"/>
            <a:ext cx="2564623" cy="1387678"/>
          </a:xfrm>
          <a:prstGeom prst="rect">
            <a:avLst/>
          </a:prstGeom>
          <a:solidFill>
            <a:srgbClr val="E7F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288000" rIns="180000" bIns="180000" rtlCol="0" anchor="t" anchorCtr="0"/>
          <a:lstStyle/>
          <a:p>
            <a:pPr lvl="0" algn="ctr">
              <a:defRPr/>
            </a:pPr>
            <a:r>
              <a:rPr lang="en-CA" sz="1050" b="1">
                <a:solidFill>
                  <a:schemeClr val="accent1"/>
                </a:solidFill>
              </a:rPr>
              <a:t>Staff photos</a:t>
            </a:r>
          </a:p>
          <a:p>
            <a:pPr lvl="0" algn="ctr">
              <a:defRPr/>
            </a:pPr>
            <a:endParaRPr lang="en-CA" sz="1050">
              <a:solidFill>
                <a:schemeClr val="accent1"/>
              </a:solidFill>
            </a:endParaRPr>
          </a:p>
          <a:p>
            <a:pPr lvl="0" algn="ctr">
              <a:defRPr/>
            </a:pPr>
            <a:r>
              <a:rPr lang="en-US" sz="1050">
                <a:solidFill>
                  <a:schemeClr val="accent3"/>
                </a:solidFill>
                <a:hlinkClick r:id="" action="ppaction://noaction"/>
              </a:rPr>
              <a:t>Staff photos are available in the Graphics section below</a:t>
            </a:r>
            <a:endParaRPr lang="en-CA" sz="1050">
              <a:solidFill>
                <a:schemeClr val="accent3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90ECF6-8091-ABF0-F425-52AB7EFE7772}"/>
              </a:ext>
            </a:extLst>
          </p:cNvPr>
          <p:cNvSpPr txBox="1"/>
          <p:nvPr/>
        </p:nvSpPr>
        <p:spPr>
          <a:xfrm>
            <a:off x="6152114" y="2755468"/>
            <a:ext cx="3313012" cy="892552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CA" sz="2000" b="1">
                <a:solidFill>
                  <a:schemeClr val="bg1"/>
                </a:solidFill>
              </a:rPr>
              <a:t>Sam Ross</a:t>
            </a:r>
          </a:p>
          <a:p>
            <a:r>
              <a:rPr lang="en-CA" sz="1600">
                <a:solidFill>
                  <a:schemeClr val="bg1"/>
                </a:solidFill>
              </a:rPr>
              <a:t>Director</a:t>
            </a:r>
          </a:p>
          <a:p>
            <a:r>
              <a:rPr lang="en-CA" sz="1600">
                <a:solidFill>
                  <a:schemeClr val="accent4"/>
                </a:solidFill>
              </a:rPr>
              <a:t>samuel.ross@dunsky.com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B1F578E-6A36-54B1-0523-BDA9BF593DE9}"/>
              </a:ext>
            </a:extLst>
          </p:cNvPr>
          <p:cNvCxnSpPr>
            <a:cxnSpLocks/>
          </p:cNvCxnSpPr>
          <p:nvPr/>
        </p:nvCxnSpPr>
        <p:spPr>
          <a:xfrm flipH="1" flipV="1">
            <a:off x="731838" y="3425357"/>
            <a:ext cx="1766035" cy="3643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" name="Title 11">
            <a:extLst>
              <a:ext uri="{FF2B5EF4-FFF2-40B4-BE49-F238E27FC236}">
                <a16:creationId xmlns:a16="http://schemas.microsoft.com/office/drawing/2014/main" id="{5F863C2D-21D3-3DC5-CE43-83EB72ED16C8}"/>
              </a:ext>
            </a:extLst>
          </p:cNvPr>
          <p:cNvSpPr txBox="1">
            <a:spLocks/>
          </p:cNvSpPr>
          <p:nvPr/>
        </p:nvSpPr>
        <p:spPr>
          <a:xfrm>
            <a:off x="707830" y="2640424"/>
            <a:ext cx="2809187" cy="6463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b="1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rPr>
              <a:t>Questions?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33C4C56-17E8-2355-A5F0-518A31CE695E}"/>
              </a:ext>
            </a:extLst>
          </p:cNvPr>
          <p:cNvSpPr>
            <a:spLocks noChangeAspect="1"/>
          </p:cNvSpPr>
          <p:nvPr/>
        </p:nvSpPr>
        <p:spPr>
          <a:xfrm>
            <a:off x="3969908" y="2301745"/>
            <a:ext cx="1799997" cy="1799997"/>
          </a:xfrm>
          <a:prstGeom prst="ellipse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0913" t="-3254" r="-10913" b="-1857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53529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263941-08BF-54E7-6760-851F31904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15D827-AD51-67C5-BE7D-F02705873A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15D827-AD51-67C5-BE7D-F02705873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FA232B81-B860-331C-C83B-EAB1D8877141}"/>
              </a:ext>
            </a:extLst>
          </p:cNvPr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1513742072"/>
              </p:ext>
            </p:extLst>
          </p:nvPr>
        </p:nvGraphicFramePr>
        <p:xfrm>
          <a:off x="5802489" y="966311"/>
          <a:ext cx="5310161" cy="476480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96508">
                  <a:extLst>
                    <a:ext uri="{9D8B030D-6E8A-4147-A177-3AD203B41FA5}">
                      <a16:colId xmlns:a16="http://schemas.microsoft.com/office/drawing/2014/main" val="442182139"/>
                    </a:ext>
                  </a:extLst>
                </a:gridCol>
                <a:gridCol w="232416">
                  <a:extLst>
                    <a:ext uri="{9D8B030D-6E8A-4147-A177-3AD203B41FA5}">
                      <a16:colId xmlns:a16="http://schemas.microsoft.com/office/drawing/2014/main" val="3012599409"/>
                    </a:ext>
                  </a:extLst>
                </a:gridCol>
                <a:gridCol w="4481237">
                  <a:extLst>
                    <a:ext uri="{9D8B030D-6E8A-4147-A177-3AD203B41FA5}">
                      <a16:colId xmlns:a16="http://schemas.microsoft.com/office/drawing/2014/main" val="3935648058"/>
                    </a:ext>
                  </a:extLst>
                </a:gridCol>
              </a:tblGrid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1" spc="0" baseline="0" dirty="0">
                          <a:solidFill>
                            <a:schemeClr val="accent1"/>
                          </a:solidFill>
                        </a:rPr>
                        <a:t>Resilience Plan Update &amp; Next Step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40375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0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643326"/>
                  </a:ext>
                </a:extLst>
              </a:tr>
              <a:tr h="63295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STAB February Statement Follow-U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7122464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78162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2026 Climate Science Repor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0750713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179994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Student Supported STAB Research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275110"/>
                  </a:ext>
                </a:extLst>
              </a:tr>
              <a:tr h="422776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6499652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C-Team Scope of Work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399107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9973038-9827-5F83-1BED-64356B653A4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04641" y="2732088"/>
            <a:ext cx="3378200" cy="1112837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8A142F-BE7F-202E-5183-B92BAFFED742}"/>
              </a:ext>
            </a:extLst>
          </p:cNvPr>
          <p:cNvSpPr txBox="1"/>
          <p:nvPr/>
        </p:nvSpPr>
        <p:spPr>
          <a:xfrm>
            <a:off x="12512048" y="3160747"/>
            <a:ext cx="3760064" cy="1806019"/>
          </a:xfrm>
          <a:prstGeom prst="rect">
            <a:avLst/>
          </a:prstGeom>
          <a:solidFill>
            <a:srgbClr val="E7F2FF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CA" sz="1050" b="1">
                <a:solidFill>
                  <a:schemeClr val="accent1"/>
                </a:solidFill>
              </a:rPr>
              <a:t>To add/delete a row</a:t>
            </a:r>
          </a:p>
          <a:p>
            <a:pPr algn="ctr"/>
            <a:endParaRPr lang="en-CA" sz="1050">
              <a:solidFill>
                <a:schemeClr val="accent1"/>
              </a:solidFill>
            </a:endParaRPr>
          </a:p>
          <a:p>
            <a:pPr algn="ctr"/>
            <a:r>
              <a:rPr lang="en-CA" sz="1050">
                <a:solidFill>
                  <a:schemeClr val="accent1"/>
                </a:solidFill>
              </a:rPr>
              <a:t>To add, select the table and go to Layout &gt; Insert Below (click twice). Remove shading in the extra row by going to Table Design &gt; Shading &gt; No Fill</a:t>
            </a:r>
          </a:p>
          <a:p>
            <a:pPr algn="ctr"/>
            <a:endParaRPr lang="en-CA" sz="1050">
              <a:solidFill>
                <a:schemeClr val="accent1"/>
              </a:solidFill>
            </a:endParaRPr>
          </a:p>
          <a:p>
            <a:pPr algn="ctr"/>
            <a:r>
              <a:rPr lang="en-CA" sz="1050">
                <a:solidFill>
                  <a:schemeClr val="accent1"/>
                </a:solidFill>
              </a:rPr>
              <a:t>To delete, select the rows to remove and go to Layout &gt; Delete &gt; Delete Rows</a:t>
            </a:r>
            <a:br>
              <a:rPr lang="en-CA" sz="1050">
                <a:solidFill>
                  <a:schemeClr val="accent1"/>
                </a:solidFill>
              </a:rPr>
            </a:br>
            <a:endParaRPr lang="en-CA" sz="1050">
              <a:solidFill>
                <a:schemeClr val="accent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B29D28D-6260-ED60-2667-5E9485C3106F}"/>
              </a:ext>
            </a:extLst>
          </p:cNvPr>
          <p:cNvGrpSpPr/>
          <p:nvPr/>
        </p:nvGrpSpPr>
        <p:grpSpPr>
          <a:xfrm>
            <a:off x="12512048" y="5132215"/>
            <a:ext cx="3760064" cy="4072745"/>
            <a:chOff x="12600662" y="1821618"/>
            <a:chExt cx="3760064" cy="407274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7C824AD-3279-2175-2AEC-737E081B5484}"/>
                </a:ext>
              </a:extLst>
            </p:cNvPr>
            <p:cNvSpPr txBox="1"/>
            <p:nvPr/>
          </p:nvSpPr>
          <p:spPr>
            <a:xfrm>
              <a:off x="12600662" y="1821618"/>
              <a:ext cx="3760064" cy="4072745"/>
            </a:xfrm>
            <a:prstGeom prst="rect">
              <a:avLst/>
            </a:prstGeom>
            <a:solidFill>
              <a:srgbClr val="E7F2FF"/>
            </a:solidFill>
          </p:spPr>
          <p:txBody>
            <a:bodyPr wrap="square" tIns="360000" rtlCol="0" anchor="t" anchorCtr="0">
              <a:noAutofit/>
            </a:bodyPr>
            <a:lstStyle/>
            <a:p>
              <a:pPr algn="ctr"/>
              <a:r>
                <a:rPr lang="en-CA" sz="1050" b="1">
                  <a:solidFill>
                    <a:schemeClr val="accent1"/>
                  </a:solidFill>
                </a:rPr>
                <a:t>To highlight a section in the agenda</a:t>
              </a:r>
            </a:p>
            <a:p>
              <a:pPr algn="ctr"/>
              <a:endParaRPr lang="en-CA" sz="1050">
                <a:solidFill>
                  <a:schemeClr val="accent1"/>
                </a:solidFill>
              </a:endParaRPr>
            </a:p>
            <a:p>
              <a:pPr algn="ctr"/>
              <a:r>
                <a:rPr lang="en-CA" sz="1050">
                  <a:solidFill>
                    <a:schemeClr val="accent1"/>
                  </a:solidFill>
                </a:rPr>
                <a:t>Top highlight, select the section and go to Table Design &gt; Shading &gt; lightest shade of Yellow (Gold, Accent 4, Lighter 80%). Add bold to the highlighted section.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5E5B742-5C3E-E7C7-1FA4-3CA8375D9F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897669" y="3296739"/>
              <a:ext cx="3166049" cy="2198328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A12D00B4-2EB1-1EB7-5C8D-DD4E6C7525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671242" y="966311"/>
            <a:ext cx="3441674" cy="184995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8C1CA56C-C2EB-C51C-DC2D-252CC0D95292}"/>
              </a:ext>
            </a:extLst>
          </p:cNvPr>
          <p:cNvGrpSpPr/>
          <p:nvPr/>
        </p:nvGrpSpPr>
        <p:grpSpPr>
          <a:xfrm>
            <a:off x="12512048" y="-413092"/>
            <a:ext cx="3760064" cy="3410291"/>
            <a:chOff x="12512048" y="-413092"/>
            <a:chExt cx="3760064" cy="34102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4ACEE51-B219-9E06-9F50-EAFF4999914F}"/>
                </a:ext>
              </a:extLst>
            </p:cNvPr>
            <p:cNvSpPr txBox="1"/>
            <p:nvPr/>
          </p:nvSpPr>
          <p:spPr>
            <a:xfrm>
              <a:off x="12512048" y="-413092"/>
              <a:ext cx="3760064" cy="3410291"/>
            </a:xfrm>
            <a:prstGeom prst="rect">
              <a:avLst/>
            </a:prstGeom>
            <a:solidFill>
              <a:srgbClr val="E7F2FF"/>
            </a:solidFill>
          </p:spPr>
          <p:txBody>
            <a:bodyPr wrap="square" tIns="252000" rtlCol="0" anchor="t" anchorCtr="0">
              <a:noAutofit/>
            </a:bodyPr>
            <a:lstStyle/>
            <a:p>
              <a:pPr algn="ctr"/>
              <a:r>
                <a:rPr lang="en-CA" sz="1050" b="1">
                  <a:solidFill>
                    <a:schemeClr val="accent1"/>
                  </a:solidFill>
                </a:rPr>
                <a:t>How to create an interactive Agenda</a:t>
              </a:r>
            </a:p>
            <a:p>
              <a:pPr algn="ctr"/>
              <a:endParaRPr lang="en-CA" sz="1050">
                <a:solidFill>
                  <a:schemeClr val="accent1"/>
                </a:solidFill>
              </a:endParaRPr>
            </a:p>
            <a:p>
              <a:pPr algn="ctr"/>
              <a:r>
                <a:rPr lang="en-CA" sz="1050">
                  <a:solidFill>
                    <a:schemeClr val="accent1"/>
                  </a:solidFill>
                </a:rPr>
                <a:t>Select the TOC item then right-click Link. In the left hand panel, select Place in this document. Select the slide you want to link to and press OK. The agenda item will now be hyperlinked. </a:t>
              </a:r>
              <a:br>
                <a:rPr lang="en-CA" sz="1050">
                  <a:solidFill>
                    <a:schemeClr val="accent1"/>
                  </a:solidFill>
                </a:rPr>
              </a:br>
              <a:endParaRPr lang="en-CA" sz="1050">
                <a:solidFill>
                  <a:schemeClr val="accent1"/>
                </a:solidFill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3F1F035-B055-F994-C6D5-AAA83C1250D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671242" y="966311"/>
              <a:ext cx="3441674" cy="1849953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201732DC-188E-E802-1C9C-9111D0E83E82}"/>
              </a:ext>
            </a:extLst>
          </p:cNvPr>
          <p:cNvSpPr txBox="1"/>
          <p:nvPr/>
        </p:nvSpPr>
        <p:spPr>
          <a:xfrm>
            <a:off x="11750358" y="6411912"/>
            <a:ext cx="408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accent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4006335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D4973D2-4ED5-E591-8764-FCF157D17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ilience Pla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2253F0-49D9-4E35-E378-C21945D5AD62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/>
              <a:t>Upda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Resilience </a:t>
            </a:r>
            <a:r>
              <a:rPr lang="en-US" dirty="0"/>
              <a:t>plan updated </a:t>
            </a:r>
            <a:r>
              <a:rPr lang="en-US" b="0" dirty="0"/>
              <a:t>after receiving comments from STAB, many other stakehold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C4 reviewed &amp; approved </a:t>
            </a:r>
            <a:r>
              <a:rPr lang="en-US" b="0" dirty="0"/>
              <a:t>the  updated, final plan on Friday 3/2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inal copy of plan received</a:t>
            </a:r>
            <a:r>
              <a:rPr lang="en-US" b="0" dirty="0"/>
              <a:t> by STAB C-Team last week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2D4FF2F-6378-6230-A27C-CB875D6859CD}"/>
              </a:ext>
            </a:extLst>
          </p:cNvPr>
          <p:cNvSpPr>
            <a:spLocks noGrp="1"/>
          </p:cNvSpPr>
          <p:nvPr>
            <p:ph idx="18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Does the STAB want a similar </a:t>
            </a:r>
            <a:r>
              <a:rPr lang="en-US" dirty="0"/>
              <a:t>‘transparency record’ </a:t>
            </a:r>
            <a:r>
              <a:rPr lang="en-US" b="0" dirty="0"/>
              <a:t>of the degree to which comments provided were incorporated into the Final Draft?</a:t>
            </a:r>
          </a:p>
          <a:p>
            <a:pPr marL="702900" lvl="1" indent="-342900"/>
            <a:r>
              <a:rPr lang="en-US" dirty="0"/>
              <a:t>The Consultant, Arup, who presented at EC4 offered to send a summary of how STAB comments were considered, but this has not been received at the time slides were finalize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racking implementation </a:t>
            </a:r>
            <a:r>
              <a:rPr lang="en-US" b="0" dirty="0"/>
              <a:t>– e.g., funding deployment through RIIB, other channels.</a:t>
            </a:r>
          </a:p>
          <a:p>
            <a:pPr marL="342900" indent="-342900"/>
            <a:endParaRPr lang="en-US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CC1D43-F159-0175-1EE6-32D575E2A5CE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3749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603C04-F7B6-68DA-1A79-EBD5B2718F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4065C3-0391-2D65-E968-AD34D28BFC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4065C3-0391-2D65-E968-AD34D28BF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A6C795D0-02E4-DDB6-DB36-00A1AF527916}"/>
              </a:ext>
            </a:extLst>
          </p:cNvPr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3586910377"/>
              </p:ext>
            </p:extLst>
          </p:nvPr>
        </p:nvGraphicFramePr>
        <p:xfrm>
          <a:off x="5802489" y="966311"/>
          <a:ext cx="5310161" cy="476480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96508">
                  <a:extLst>
                    <a:ext uri="{9D8B030D-6E8A-4147-A177-3AD203B41FA5}">
                      <a16:colId xmlns:a16="http://schemas.microsoft.com/office/drawing/2014/main" val="442182139"/>
                    </a:ext>
                  </a:extLst>
                </a:gridCol>
                <a:gridCol w="232416">
                  <a:extLst>
                    <a:ext uri="{9D8B030D-6E8A-4147-A177-3AD203B41FA5}">
                      <a16:colId xmlns:a16="http://schemas.microsoft.com/office/drawing/2014/main" val="3012599409"/>
                    </a:ext>
                  </a:extLst>
                </a:gridCol>
                <a:gridCol w="4481237">
                  <a:extLst>
                    <a:ext uri="{9D8B030D-6E8A-4147-A177-3AD203B41FA5}">
                      <a16:colId xmlns:a16="http://schemas.microsoft.com/office/drawing/2014/main" val="3935648058"/>
                    </a:ext>
                  </a:extLst>
                </a:gridCol>
              </a:tblGrid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0" spc="0" baseline="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Resilience Plan Update &amp; Next Step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40375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0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643326"/>
                  </a:ext>
                </a:extLst>
              </a:tr>
              <a:tr h="63295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1" spc="0" baseline="0" dirty="0">
                          <a:solidFill>
                            <a:schemeClr val="accent1"/>
                          </a:solidFill>
                        </a:rPr>
                        <a:t>STAB February Statement Follow-U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7122464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78162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2026 Climate Science Repor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0750713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179994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Student Supported STAB Research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275110"/>
                  </a:ext>
                </a:extLst>
              </a:tr>
              <a:tr h="422776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6499652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C-Team Scope of Work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399107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23E9A3F-0A88-5639-4740-309D6647CA9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04641" y="2732088"/>
            <a:ext cx="3378200" cy="1112837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D62066-AA7E-7D61-4EC0-8BB50E6656C5}"/>
              </a:ext>
            </a:extLst>
          </p:cNvPr>
          <p:cNvSpPr txBox="1"/>
          <p:nvPr/>
        </p:nvSpPr>
        <p:spPr>
          <a:xfrm>
            <a:off x="12512048" y="3160747"/>
            <a:ext cx="3760064" cy="1806019"/>
          </a:xfrm>
          <a:prstGeom prst="rect">
            <a:avLst/>
          </a:prstGeom>
          <a:solidFill>
            <a:srgbClr val="E7F2FF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CA" sz="1050" b="1">
                <a:solidFill>
                  <a:schemeClr val="accent1"/>
                </a:solidFill>
              </a:rPr>
              <a:t>To add/delete a row</a:t>
            </a:r>
          </a:p>
          <a:p>
            <a:pPr algn="ctr"/>
            <a:endParaRPr lang="en-CA" sz="1050">
              <a:solidFill>
                <a:schemeClr val="accent1"/>
              </a:solidFill>
            </a:endParaRPr>
          </a:p>
          <a:p>
            <a:pPr algn="ctr"/>
            <a:r>
              <a:rPr lang="en-CA" sz="1050">
                <a:solidFill>
                  <a:schemeClr val="accent1"/>
                </a:solidFill>
              </a:rPr>
              <a:t>To add, select the table and go to Layout &gt; Insert Below (click twice). Remove shading in the extra row by going to Table Design &gt; Shading &gt; No Fill</a:t>
            </a:r>
          </a:p>
          <a:p>
            <a:pPr algn="ctr"/>
            <a:endParaRPr lang="en-CA" sz="1050">
              <a:solidFill>
                <a:schemeClr val="accent1"/>
              </a:solidFill>
            </a:endParaRPr>
          </a:p>
          <a:p>
            <a:pPr algn="ctr"/>
            <a:r>
              <a:rPr lang="en-CA" sz="1050">
                <a:solidFill>
                  <a:schemeClr val="accent1"/>
                </a:solidFill>
              </a:rPr>
              <a:t>To delete, select the rows to remove and go to Layout &gt; Delete &gt; Delete Rows</a:t>
            </a:r>
            <a:br>
              <a:rPr lang="en-CA" sz="1050">
                <a:solidFill>
                  <a:schemeClr val="accent1"/>
                </a:solidFill>
              </a:rPr>
            </a:br>
            <a:endParaRPr lang="en-CA" sz="1050">
              <a:solidFill>
                <a:schemeClr val="accent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D237E42-5CF4-C2A6-1AA9-4DA787E315CD}"/>
              </a:ext>
            </a:extLst>
          </p:cNvPr>
          <p:cNvGrpSpPr/>
          <p:nvPr/>
        </p:nvGrpSpPr>
        <p:grpSpPr>
          <a:xfrm>
            <a:off x="12512048" y="5132215"/>
            <a:ext cx="3760064" cy="4072745"/>
            <a:chOff x="12600662" y="1821618"/>
            <a:chExt cx="3760064" cy="407274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8FF604A-CC7C-9C48-51D6-9B78347C8A63}"/>
                </a:ext>
              </a:extLst>
            </p:cNvPr>
            <p:cNvSpPr txBox="1"/>
            <p:nvPr/>
          </p:nvSpPr>
          <p:spPr>
            <a:xfrm>
              <a:off x="12600662" y="1821618"/>
              <a:ext cx="3760064" cy="4072745"/>
            </a:xfrm>
            <a:prstGeom prst="rect">
              <a:avLst/>
            </a:prstGeom>
            <a:solidFill>
              <a:srgbClr val="E7F2FF"/>
            </a:solidFill>
          </p:spPr>
          <p:txBody>
            <a:bodyPr wrap="square" tIns="360000" rtlCol="0" anchor="t" anchorCtr="0">
              <a:noAutofit/>
            </a:bodyPr>
            <a:lstStyle/>
            <a:p>
              <a:pPr algn="ctr"/>
              <a:r>
                <a:rPr lang="en-CA" sz="1050" b="1">
                  <a:solidFill>
                    <a:schemeClr val="accent1"/>
                  </a:solidFill>
                </a:rPr>
                <a:t>To highlight a section in the agenda</a:t>
              </a:r>
            </a:p>
            <a:p>
              <a:pPr algn="ctr"/>
              <a:endParaRPr lang="en-CA" sz="1050">
                <a:solidFill>
                  <a:schemeClr val="accent1"/>
                </a:solidFill>
              </a:endParaRPr>
            </a:p>
            <a:p>
              <a:pPr algn="ctr"/>
              <a:r>
                <a:rPr lang="en-CA" sz="1050">
                  <a:solidFill>
                    <a:schemeClr val="accent1"/>
                  </a:solidFill>
                </a:rPr>
                <a:t>Top highlight, select the section and go to Table Design &gt; Shading &gt; lightest shade of Yellow (Gold, Accent 4, Lighter 80%). Add bold to the highlighted section.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2D59061-52E7-3894-DCF6-304E6551E3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897669" y="3296739"/>
              <a:ext cx="3166049" cy="2198328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A01957C8-7482-41EE-5A33-DC31052056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671242" y="966311"/>
            <a:ext cx="3441674" cy="184995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A71F683-A85F-E9B7-D913-D7A29D05DE28}"/>
              </a:ext>
            </a:extLst>
          </p:cNvPr>
          <p:cNvGrpSpPr/>
          <p:nvPr/>
        </p:nvGrpSpPr>
        <p:grpSpPr>
          <a:xfrm>
            <a:off x="12512048" y="-413092"/>
            <a:ext cx="3760064" cy="3410291"/>
            <a:chOff x="12512048" y="-413092"/>
            <a:chExt cx="3760064" cy="34102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D73609B-7C4B-B320-26F0-9059C457FAF9}"/>
                </a:ext>
              </a:extLst>
            </p:cNvPr>
            <p:cNvSpPr txBox="1"/>
            <p:nvPr/>
          </p:nvSpPr>
          <p:spPr>
            <a:xfrm>
              <a:off x="12512048" y="-413092"/>
              <a:ext cx="3760064" cy="3410291"/>
            </a:xfrm>
            <a:prstGeom prst="rect">
              <a:avLst/>
            </a:prstGeom>
            <a:solidFill>
              <a:srgbClr val="E7F2FF"/>
            </a:solidFill>
          </p:spPr>
          <p:txBody>
            <a:bodyPr wrap="square" tIns="252000" rtlCol="0" anchor="t" anchorCtr="0">
              <a:noAutofit/>
            </a:bodyPr>
            <a:lstStyle/>
            <a:p>
              <a:pPr algn="ctr"/>
              <a:r>
                <a:rPr lang="en-CA" sz="1050" b="1">
                  <a:solidFill>
                    <a:schemeClr val="accent1"/>
                  </a:solidFill>
                </a:rPr>
                <a:t>How to create an interactive Agenda</a:t>
              </a:r>
            </a:p>
            <a:p>
              <a:pPr algn="ctr"/>
              <a:endParaRPr lang="en-CA" sz="1050">
                <a:solidFill>
                  <a:schemeClr val="accent1"/>
                </a:solidFill>
              </a:endParaRPr>
            </a:p>
            <a:p>
              <a:pPr algn="ctr"/>
              <a:r>
                <a:rPr lang="en-CA" sz="1050">
                  <a:solidFill>
                    <a:schemeClr val="accent1"/>
                  </a:solidFill>
                </a:rPr>
                <a:t>Select the TOC item then right-click Link. In the left hand panel, select Place in this document. Select the slide you want to link to and press OK. The agenda item will now be hyperlinked. </a:t>
              </a:r>
              <a:br>
                <a:rPr lang="en-CA" sz="1050">
                  <a:solidFill>
                    <a:schemeClr val="accent1"/>
                  </a:solidFill>
                </a:rPr>
              </a:br>
              <a:endParaRPr lang="en-CA" sz="1050">
                <a:solidFill>
                  <a:schemeClr val="accent1"/>
                </a:solidFill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7D5AA71-1731-9A11-DA50-EEFD19A2D2B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671242" y="966311"/>
              <a:ext cx="3441674" cy="1849953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16D7BDF9-0F35-8CE6-230A-27C0177ED1E6}"/>
              </a:ext>
            </a:extLst>
          </p:cNvPr>
          <p:cNvSpPr txBox="1"/>
          <p:nvPr/>
        </p:nvSpPr>
        <p:spPr>
          <a:xfrm>
            <a:off x="11750358" y="6411912"/>
            <a:ext cx="408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accent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278838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B0C77-C64D-4469-066A-31CDD339F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TAB Statement on Climate Strategy + Budget Propos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252986-E99C-A84B-5D60-CD2CEF84977E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/>
              <a:t>Legislative Session Upda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Part of the purpose of today’s discussion is to </a:t>
            </a:r>
            <a:r>
              <a:rPr lang="en-US" dirty="0"/>
              <a:t>keep the STAB informed </a:t>
            </a:r>
            <a:r>
              <a:rPr lang="en-US" b="0" dirty="0"/>
              <a:t>of the current discourse related to the topics addressed in the STAB’s statement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You will hear from STAB member </a:t>
            </a:r>
            <a:r>
              <a:rPr lang="en-US" dirty="0"/>
              <a:t>Timmons Roberts</a:t>
            </a:r>
            <a:r>
              <a:rPr lang="en-US" b="0" dirty="0"/>
              <a:t>, as well as guest speaker, member of the Advisory Board, and Acadia Center employee </a:t>
            </a:r>
            <a:r>
              <a:rPr lang="en-US" dirty="0"/>
              <a:t>Emily Ko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1D7861-2D89-9D85-9B6C-89828BC5A831}"/>
              </a:ext>
            </a:extLst>
          </p:cNvPr>
          <p:cNvSpPr>
            <a:spLocks noGrp="1"/>
          </p:cNvSpPr>
          <p:nvPr>
            <p:ph idx="18"/>
          </p:nvPr>
        </p:nvSpPr>
        <p:spPr/>
        <p:txBody>
          <a:bodyPr/>
          <a:lstStyle/>
          <a:p>
            <a:r>
              <a:rPr lang="en-US" dirty="0"/>
              <a:t>Work Pl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-Team has a work-in-progress </a:t>
            </a:r>
            <a:r>
              <a:rPr lang="en-US" b="0" dirty="0"/>
              <a:t>on a supporting memo with further evidence to support STAB’s com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raft memo planned for April STAB Mee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is material has already been useful </a:t>
            </a:r>
            <a:r>
              <a:rPr lang="en-US" b="0" dirty="0"/>
              <a:t>in conversations regarding STAB climate strategy review and current legislative sess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38B3ED-8028-466E-AC0F-C837E7BCDC7C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0483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F69E8D-B8D8-F0C7-7BF0-8C89D39648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F1963CF-FD8B-AB60-B3AA-49ED258167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F1963CF-FD8B-AB60-B3AA-49ED25816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848CEF1D-E7F9-B266-B893-0F0ACE74434F}"/>
              </a:ext>
            </a:extLst>
          </p:cNvPr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2092962802"/>
              </p:ext>
            </p:extLst>
          </p:nvPr>
        </p:nvGraphicFramePr>
        <p:xfrm>
          <a:off x="5802489" y="966311"/>
          <a:ext cx="5310161" cy="476480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96508">
                  <a:extLst>
                    <a:ext uri="{9D8B030D-6E8A-4147-A177-3AD203B41FA5}">
                      <a16:colId xmlns:a16="http://schemas.microsoft.com/office/drawing/2014/main" val="442182139"/>
                    </a:ext>
                  </a:extLst>
                </a:gridCol>
                <a:gridCol w="232416">
                  <a:extLst>
                    <a:ext uri="{9D8B030D-6E8A-4147-A177-3AD203B41FA5}">
                      <a16:colId xmlns:a16="http://schemas.microsoft.com/office/drawing/2014/main" val="3012599409"/>
                    </a:ext>
                  </a:extLst>
                </a:gridCol>
                <a:gridCol w="4481237">
                  <a:extLst>
                    <a:ext uri="{9D8B030D-6E8A-4147-A177-3AD203B41FA5}">
                      <a16:colId xmlns:a16="http://schemas.microsoft.com/office/drawing/2014/main" val="3935648058"/>
                    </a:ext>
                  </a:extLst>
                </a:gridCol>
              </a:tblGrid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0" spc="0" baseline="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Resilience Plan Update &amp; Next Step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40375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0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643326"/>
                  </a:ext>
                </a:extLst>
              </a:tr>
              <a:tr h="63295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STAB February Statement Follow-U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7122464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78162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1" spc="0" baseline="0" dirty="0">
                          <a:solidFill>
                            <a:schemeClr val="accent1"/>
                          </a:solidFill>
                        </a:rPr>
                        <a:t>2026 Climate Science Repor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750713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179994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Student Supported STAB Research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275110"/>
                  </a:ext>
                </a:extLst>
              </a:tr>
              <a:tr h="422776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6499652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C-Team Scope of Work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399107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CBBCA81B-3799-408C-F836-A52566030EE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04641" y="2732088"/>
            <a:ext cx="3378200" cy="1112837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7F02BE-94AB-FE5B-03B8-A2872559FC93}"/>
              </a:ext>
            </a:extLst>
          </p:cNvPr>
          <p:cNvSpPr txBox="1"/>
          <p:nvPr/>
        </p:nvSpPr>
        <p:spPr>
          <a:xfrm>
            <a:off x="12512048" y="3160747"/>
            <a:ext cx="3760064" cy="1806019"/>
          </a:xfrm>
          <a:prstGeom prst="rect">
            <a:avLst/>
          </a:prstGeom>
          <a:solidFill>
            <a:srgbClr val="E7F2FF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CA" sz="1050" b="1">
                <a:solidFill>
                  <a:schemeClr val="accent1"/>
                </a:solidFill>
              </a:rPr>
              <a:t>To add/delete a row</a:t>
            </a:r>
          </a:p>
          <a:p>
            <a:pPr algn="ctr"/>
            <a:endParaRPr lang="en-CA" sz="1050">
              <a:solidFill>
                <a:schemeClr val="accent1"/>
              </a:solidFill>
            </a:endParaRPr>
          </a:p>
          <a:p>
            <a:pPr algn="ctr"/>
            <a:r>
              <a:rPr lang="en-CA" sz="1050">
                <a:solidFill>
                  <a:schemeClr val="accent1"/>
                </a:solidFill>
              </a:rPr>
              <a:t>To add, select the table and go to Layout &gt; Insert Below (click twice). Remove shading in the extra row by going to Table Design &gt; Shading &gt; No Fill</a:t>
            </a:r>
          </a:p>
          <a:p>
            <a:pPr algn="ctr"/>
            <a:endParaRPr lang="en-CA" sz="1050">
              <a:solidFill>
                <a:schemeClr val="accent1"/>
              </a:solidFill>
            </a:endParaRPr>
          </a:p>
          <a:p>
            <a:pPr algn="ctr"/>
            <a:r>
              <a:rPr lang="en-CA" sz="1050">
                <a:solidFill>
                  <a:schemeClr val="accent1"/>
                </a:solidFill>
              </a:rPr>
              <a:t>To delete, select the rows to remove and go to Layout &gt; Delete &gt; Delete Rows</a:t>
            </a:r>
            <a:br>
              <a:rPr lang="en-CA" sz="1050">
                <a:solidFill>
                  <a:schemeClr val="accent1"/>
                </a:solidFill>
              </a:rPr>
            </a:br>
            <a:endParaRPr lang="en-CA" sz="1050">
              <a:solidFill>
                <a:schemeClr val="accent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B773C1-3CEE-6985-D7EE-9A727230C907}"/>
              </a:ext>
            </a:extLst>
          </p:cNvPr>
          <p:cNvGrpSpPr/>
          <p:nvPr/>
        </p:nvGrpSpPr>
        <p:grpSpPr>
          <a:xfrm>
            <a:off x="12512048" y="5132215"/>
            <a:ext cx="3760064" cy="4072745"/>
            <a:chOff x="12600662" y="1821618"/>
            <a:chExt cx="3760064" cy="407274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2B4E979-A99B-FFA7-689D-240031CDC733}"/>
                </a:ext>
              </a:extLst>
            </p:cNvPr>
            <p:cNvSpPr txBox="1"/>
            <p:nvPr/>
          </p:nvSpPr>
          <p:spPr>
            <a:xfrm>
              <a:off x="12600662" y="1821618"/>
              <a:ext cx="3760064" cy="4072745"/>
            </a:xfrm>
            <a:prstGeom prst="rect">
              <a:avLst/>
            </a:prstGeom>
            <a:solidFill>
              <a:srgbClr val="E7F2FF"/>
            </a:solidFill>
          </p:spPr>
          <p:txBody>
            <a:bodyPr wrap="square" tIns="360000" rtlCol="0" anchor="t" anchorCtr="0">
              <a:noAutofit/>
            </a:bodyPr>
            <a:lstStyle/>
            <a:p>
              <a:pPr algn="ctr"/>
              <a:r>
                <a:rPr lang="en-CA" sz="1050" b="1">
                  <a:solidFill>
                    <a:schemeClr val="accent1"/>
                  </a:solidFill>
                </a:rPr>
                <a:t>To highlight a section in the agenda</a:t>
              </a:r>
            </a:p>
            <a:p>
              <a:pPr algn="ctr"/>
              <a:endParaRPr lang="en-CA" sz="1050">
                <a:solidFill>
                  <a:schemeClr val="accent1"/>
                </a:solidFill>
              </a:endParaRPr>
            </a:p>
            <a:p>
              <a:pPr algn="ctr"/>
              <a:r>
                <a:rPr lang="en-CA" sz="1050">
                  <a:solidFill>
                    <a:schemeClr val="accent1"/>
                  </a:solidFill>
                </a:rPr>
                <a:t>Top highlight, select the section and go to Table Design &gt; Shading &gt; lightest shade of Yellow (Gold, Accent 4, Lighter 80%). Add bold to the highlighted section.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7B3CE98-157A-B2EF-856D-22DE8E8ECA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897669" y="3296739"/>
              <a:ext cx="3166049" cy="2198328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23DB711F-F33B-BD2E-64BB-5A0A0D3E152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671242" y="966311"/>
            <a:ext cx="3441674" cy="184995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C91FEE75-EBD6-21B0-4891-6C47BE6611A8}"/>
              </a:ext>
            </a:extLst>
          </p:cNvPr>
          <p:cNvGrpSpPr/>
          <p:nvPr/>
        </p:nvGrpSpPr>
        <p:grpSpPr>
          <a:xfrm>
            <a:off x="12512048" y="-413092"/>
            <a:ext cx="3760064" cy="3410291"/>
            <a:chOff x="12512048" y="-413092"/>
            <a:chExt cx="3760064" cy="34102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E0B712C-C51C-581A-6B36-3E441A10CA78}"/>
                </a:ext>
              </a:extLst>
            </p:cNvPr>
            <p:cNvSpPr txBox="1"/>
            <p:nvPr/>
          </p:nvSpPr>
          <p:spPr>
            <a:xfrm>
              <a:off x="12512048" y="-413092"/>
              <a:ext cx="3760064" cy="3410291"/>
            </a:xfrm>
            <a:prstGeom prst="rect">
              <a:avLst/>
            </a:prstGeom>
            <a:solidFill>
              <a:srgbClr val="E7F2FF"/>
            </a:solidFill>
          </p:spPr>
          <p:txBody>
            <a:bodyPr wrap="square" tIns="252000" rtlCol="0" anchor="t" anchorCtr="0">
              <a:noAutofit/>
            </a:bodyPr>
            <a:lstStyle/>
            <a:p>
              <a:pPr algn="ctr"/>
              <a:r>
                <a:rPr lang="en-CA" sz="1050" b="1">
                  <a:solidFill>
                    <a:schemeClr val="accent1"/>
                  </a:solidFill>
                </a:rPr>
                <a:t>How to create an interactive Agenda</a:t>
              </a:r>
            </a:p>
            <a:p>
              <a:pPr algn="ctr"/>
              <a:endParaRPr lang="en-CA" sz="1050">
                <a:solidFill>
                  <a:schemeClr val="accent1"/>
                </a:solidFill>
              </a:endParaRPr>
            </a:p>
            <a:p>
              <a:pPr algn="ctr"/>
              <a:r>
                <a:rPr lang="en-CA" sz="1050">
                  <a:solidFill>
                    <a:schemeClr val="accent1"/>
                  </a:solidFill>
                </a:rPr>
                <a:t>Select the TOC item then right-click Link. In the left hand panel, select Place in this document. Select the slide you want to link to and press OK. The agenda item will now be hyperlinked. </a:t>
              </a:r>
              <a:br>
                <a:rPr lang="en-CA" sz="1050">
                  <a:solidFill>
                    <a:schemeClr val="accent1"/>
                  </a:solidFill>
                </a:rPr>
              </a:br>
              <a:endParaRPr lang="en-CA" sz="1050">
                <a:solidFill>
                  <a:schemeClr val="accent1"/>
                </a:solidFill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E1F5E9A-E0B7-DC60-1492-B13B0DA0B53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671242" y="966311"/>
              <a:ext cx="3441674" cy="1849953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6ED3235-6256-672D-AA24-2E64B3809B5D}"/>
              </a:ext>
            </a:extLst>
          </p:cNvPr>
          <p:cNvSpPr txBox="1"/>
          <p:nvPr/>
        </p:nvSpPr>
        <p:spPr>
          <a:xfrm>
            <a:off x="11750358" y="6411912"/>
            <a:ext cx="408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accent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779314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3A7E290-76DC-B531-8CDC-AFA8896A813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urpose and audience for this report</a:t>
            </a:r>
          </a:p>
          <a:p>
            <a:pPr marL="702900" lvl="1" indent="-342900"/>
            <a:r>
              <a:rPr lang="en-US" dirty="0"/>
              <a:t>Prior iteration was very focused on summarizing potential impacts from climate change for Rhode Island (see next slide for outline)</a:t>
            </a:r>
          </a:p>
          <a:p>
            <a:pPr marL="702900" lvl="1" indent="-342900"/>
            <a:r>
              <a:rPr lang="en-US" dirty="0"/>
              <a:t>Will this focus be additive in the same year as the resilience plan? What do members think would be most important/impactful to convey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otential themes from STAB work in past ~12 months</a:t>
            </a:r>
          </a:p>
          <a:p>
            <a:pPr marL="702900" lvl="1" indent="-342900"/>
            <a:r>
              <a:rPr lang="en-US" dirty="0"/>
              <a:t>Biofuels’ emissions impacts</a:t>
            </a:r>
          </a:p>
          <a:p>
            <a:pPr marL="702900" lvl="1" indent="-342900"/>
            <a:r>
              <a:rPr lang="en-US" dirty="0"/>
              <a:t>REC accounting moving from annual/anywhere to matching in time and space</a:t>
            </a:r>
          </a:p>
          <a:p>
            <a:pPr marL="702900" lvl="1" indent="-342900"/>
            <a:r>
              <a:rPr lang="en-US" dirty="0"/>
              <a:t>Attribution of impacts in Rhode Island to Climate Change (Superfund Law)</a:t>
            </a:r>
          </a:p>
          <a:p>
            <a:pPr marL="342900" indent="-342900"/>
            <a:r>
              <a:rPr lang="en-US" dirty="0"/>
              <a:t>Topics/input from Joe Poccia, RI State Climatologist</a:t>
            </a:r>
          </a:p>
          <a:p>
            <a:pPr marL="702900" lvl="1" indent="-342900"/>
            <a:r>
              <a:rPr lang="en-US" dirty="0"/>
              <a:t>In truth, we will be supporting Joe’s efforts at least as much as vice versa!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0F140A-8D2D-71BE-393C-1D8B4FEE6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B Climate Science Repor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B09F89-81BF-4601-3123-8C992E0CE2E8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992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25984E-8F91-93F9-EC67-20AD42298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8B77978-2D29-3C1B-A09B-7812CF89E2B5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ntro/Overvie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arming Air Temperatures and Policies Needed to Reduce Greenhouse Gas Emission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arming Water Temperatur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ea Level Rise and Need for Longer Term Planning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torm Frequency and Intensit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recipitation and Flooding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hanging Biodiversity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DC86B86-3C94-3447-0521-087C7C5C02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 of Most Recent Annual Report (2020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E81CB-CDAB-983D-B7FE-68387AC45E30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9796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D9DA8-081C-FF54-484A-58C229E811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28E59C-C990-CE49-8A9E-A7F41A3097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28E59C-C990-CE49-8A9E-A7F41A309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83D171DF-1264-D523-B027-32F64BE14F3F}"/>
              </a:ext>
            </a:extLst>
          </p:cNvPr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182520720"/>
              </p:ext>
            </p:extLst>
          </p:nvPr>
        </p:nvGraphicFramePr>
        <p:xfrm>
          <a:off x="5802489" y="966311"/>
          <a:ext cx="5310161" cy="476480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96508">
                  <a:extLst>
                    <a:ext uri="{9D8B030D-6E8A-4147-A177-3AD203B41FA5}">
                      <a16:colId xmlns:a16="http://schemas.microsoft.com/office/drawing/2014/main" val="442182139"/>
                    </a:ext>
                  </a:extLst>
                </a:gridCol>
                <a:gridCol w="232416">
                  <a:extLst>
                    <a:ext uri="{9D8B030D-6E8A-4147-A177-3AD203B41FA5}">
                      <a16:colId xmlns:a16="http://schemas.microsoft.com/office/drawing/2014/main" val="3012599409"/>
                    </a:ext>
                  </a:extLst>
                </a:gridCol>
                <a:gridCol w="4481237">
                  <a:extLst>
                    <a:ext uri="{9D8B030D-6E8A-4147-A177-3AD203B41FA5}">
                      <a16:colId xmlns:a16="http://schemas.microsoft.com/office/drawing/2014/main" val="3935648058"/>
                    </a:ext>
                  </a:extLst>
                </a:gridCol>
              </a:tblGrid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0" spc="0" baseline="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Resilience Plan Update &amp; Next Step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40375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0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643326"/>
                  </a:ext>
                </a:extLst>
              </a:tr>
              <a:tr h="63295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STAB February Statement Follow-U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7122464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78162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2026 Climate Science Repor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0750713"/>
                  </a:ext>
                </a:extLst>
              </a:tr>
              <a:tr h="392124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179994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1" spc="0" baseline="0" dirty="0">
                          <a:solidFill>
                            <a:schemeClr val="accent1"/>
                          </a:solidFill>
                        </a:rPr>
                        <a:t>Student Supported STAB Research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275110"/>
                  </a:ext>
                </a:extLst>
              </a:tr>
              <a:tr h="422776">
                <a:tc>
                  <a:txBody>
                    <a:bodyPr/>
                    <a:lstStyle/>
                    <a:p>
                      <a:pPr algn="ctr"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6499652"/>
                  </a:ext>
                </a:extLst>
              </a:tr>
              <a:tr h="633175">
                <a:tc>
                  <a:txBody>
                    <a:bodyPr/>
                    <a:lstStyle/>
                    <a:p>
                      <a:pPr algn="ctr" rtl="0"/>
                      <a:r>
                        <a:rPr lang="en-CA" b="1" spc="0" baseline="0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CA" b="1" spc="0" baseline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CA" b="0" spc="0" baseline="0" dirty="0">
                          <a:solidFill>
                            <a:schemeClr val="accent1"/>
                          </a:solidFill>
                        </a:rPr>
                        <a:t>C-Team Scope of Work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399107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C0B0A8EE-D33B-6071-EF37-2EE579BF3B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04641" y="2732088"/>
            <a:ext cx="3378200" cy="1112837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3F00EDE-AE66-5098-2AC3-9E69D33D31DF}"/>
              </a:ext>
            </a:extLst>
          </p:cNvPr>
          <p:cNvSpPr txBox="1"/>
          <p:nvPr/>
        </p:nvSpPr>
        <p:spPr>
          <a:xfrm>
            <a:off x="12512048" y="3160747"/>
            <a:ext cx="3760064" cy="1806019"/>
          </a:xfrm>
          <a:prstGeom prst="rect">
            <a:avLst/>
          </a:prstGeom>
          <a:solidFill>
            <a:srgbClr val="E7F2FF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CA" sz="1050" b="1">
                <a:solidFill>
                  <a:schemeClr val="accent1"/>
                </a:solidFill>
              </a:rPr>
              <a:t>To add/delete a row</a:t>
            </a:r>
          </a:p>
          <a:p>
            <a:pPr algn="ctr"/>
            <a:endParaRPr lang="en-CA" sz="1050">
              <a:solidFill>
                <a:schemeClr val="accent1"/>
              </a:solidFill>
            </a:endParaRPr>
          </a:p>
          <a:p>
            <a:pPr algn="ctr"/>
            <a:r>
              <a:rPr lang="en-CA" sz="1050">
                <a:solidFill>
                  <a:schemeClr val="accent1"/>
                </a:solidFill>
              </a:rPr>
              <a:t>To add, select the table and go to Layout &gt; Insert Below (click twice). Remove shading in the extra row by going to Table Design &gt; Shading &gt; No Fill</a:t>
            </a:r>
          </a:p>
          <a:p>
            <a:pPr algn="ctr"/>
            <a:endParaRPr lang="en-CA" sz="1050">
              <a:solidFill>
                <a:schemeClr val="accent1"/>
              </a:solidFill>
            </a:endParaRPr>
          </a:p>
          <a:p>
            <a:pPr algn="ctr"/>
            <a:r>
              <a:rPr lang="en-CA" sz="1050">
                <a:solidFill>
                  <a:schemeClr val="accent1"/>
                </a:solidFill>
              </a:rPr>
              <a:t>To delete, select the rows to remove and go to Layout &gt; Delete &gt; Delete Rows</a:t>
            </a:r>
            <a:br>
              <a:rPr lang="en-CA" sz="1050">
                <a:solidFill>
                  <a:schemeClr val="accent1"/>
                </a:solidFill>
              </a:rPr>
            </a:br>
            <a:endParaRPr lang="en-CA" sz="1050">
              <a:solidFill>
                <a:schemeClr val="accent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0D3117B-B8B3-C795-92E6-9D0B89A05205}"/>
              </a:ext>
            </a:extLst>
          </p:cNvPr>
          <p:cNvGrpSpPr/>
          <p:nvPr/>
        </p:nvGrpSpPr>
        <p:grpSpPr>
          <a:xfrm>
            <a:off x="12512048" y="5132215"/>
            <a:ext cx="3760064" cy="4072745"/>
            <a:chOff x="12600662" y="1821618"/>
            <a:chExt cx="3760064" cy="407274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D8A98D3-DF2D-5346-80F4-0F0CE9E9D915}"/>
                </a:ext>
              </a:extLst>
            </p:cNvPr>
            <p:cNvSpPr txBox="1"/>
            <p:nvPr/>
          </p:nvSpPr>
          <p:spPr>
            <a:xfrm>
              <a:off x="12600662" y="1821618"/>
              <a:ext cx="3760064" cy="4072745"/>
            </a:xfrm>
            <a:prstGeom prst="rect">
              <a:avLst/>
            </a:prstGeom>
            <a:solidFill>
              <a:srgbClr val="E7F2FF"/>
            </a:solidFill>
          </p:spPr>
          <p:txBody>
            <a:bodyPr wrap="square" tIns="360000" rtlCol="0" anchor="t" anchorCtr="0">
              <a:noAutofit/>
            </a:bodyPr>
            <a:lstStyle/>
            <a:p>
              <a:pPr algn="ctr"/>
              <a:r>
                <a:rPr lang="en-CA" sz="1050" b="1">
                  <a:solidFill>
                    <a:schemeClr val="accent1"/>
                  </a:solidFill>
                </a:rPr>
                <a:t>To highlight a section in the agenda</a:t>
              </a:r>
            </a:p>
            <a:p>
              <a:pPr algn="ctr"/>
              <a:endParaRPr lang="en-CA" sz="1050">
                <a:solidFill>
                  <a:schemeClr val="accent1"/>
                </a:solidFill>
              </a:endParaRPr>
            </a:p>
            <a:p>
              <a:pPr algn="ctr"/>
              <a:r>
                <a:rPr lang="en-CA" sz="1050">
                  <a:solidFill>
                    <a:schemeClr val="accent1"/>
                  </a:solidFill>
                </a:rPr>
                <a:t>Top highlight, select the section and go to Table Design &gt; Shading &gt; lightest shade of Yellow (Gold, Accent 4, Lighter 80%). Add bold to the highlighted section.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D941E43-4717-BBFA-9457-6622FDBADC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897669" y="3296739"/>
              <a:ext cx="3166049" cy="2198328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85090761-BFB3-FC09-B775-4179111D76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671242" y="966311"/>
            <a:ext cx="3441674" cy="184995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CDE5BA4F-FA60-36BA-F5BC-FE947160BE7E}"/>
              </a:ext>
            </a:extLst>
          </p:cNvPr>
          <p:cNvGrpSpPr/>
          <p:nvPr/>
        </p:nvGrpSpPr>
        <p:grpSpPr>
          <a:xfrm>
            <a:off x="12512048" y="-413092"/>
            <a:ext cx="3760064" cy="3410291"/>
            <a:chOff x="12512048" y="-413092"/>
            <a:chExt cx="3760064" cy="34102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6C50D3E-150A-88D4-F004-3DEAB7813ECC}"/>
                </a:ext>
              </a:extLst>
            </p:cNvPr>
            <p:cNvSpPr txBox="1"/>
            <p:nvPr/>
          </p:nvSpPr>
          <p:spPr>
            <a:xfrm>
              <a:off x="12512048" y="-413092"/>
              <a:ext cx="3760064" cy="3410291"/>
            </a:xfrm>
            <a:prstGeom prst="rect">
              <a:avLst/>
            </a:prstGeom>
            <a:solidFill>
              <a:srgbClr val="E7F2FF"/>
            </a:solidFill>
          </p:spPr>
          <p:txBody>
            <a:bodyPr wrap="square" tIns="252000" rtlCol="0" anchor="t" anchorCtr="0">
              <a:noAutofit/>
            </a:bodyPr>
            <a:lstStyle/>
            <a:p>
              <a:pPr algn="ctr"/>
              <a:r>
                <a:rPr lang="en-CA" sz="1050" b="1">
                  <a:solidFill>
                    <a:schemeClr val="accent1"/>
                  </a:solidFill>
                </a:rPr>
                <a:t>How to create an interactive Agenda</a:t>
              </a:r>
            </a:p>
            <a:p>
              <a:pPr algn="ctr"/>
              <a:endParaRPr lang="en-CA" sz="1050">
                <a:solidFill>
                  <a:schemeClr val="accent1"/>
                </a:solidFill>
              </a:endParaRPr>
            </a:p>
            <a:p>
              <a:pPr algn="ctr"/>
              <a:r>
                <a:rPr lang="en-CA" sz="1050">
                  <a:solidFill>
                    <a:schemeClr val="accent1"/>
                  </a:solidFill>
                </a:rPr>
                <a:t>Select the TOC item then right-click Link. In the left hand panel, select Place in this document. Select the slide you want to link to and press OK. The agenda item will now be hyperlinked. </a:t>
              </a:r>
              <a:br>
                <a:rPr lang="en-CA" sz="1050">
                  <a:solidFill>
                    <a:schemeClr val="accent1"/>
                  </a:solidFill>
                </a:rPr>
              </a:br>
              <a:endParaRPr lang="en-CA" sz="1050">
                <a:solidFill>
                  <a:schemeClr val="accent1"/>
                </a:solidFill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4570A3B-1BBB-BF2B-2905-5092395A97A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671242" y="966311"/>
              <a:ext cx="3441674" cy="1849953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05141AD-29CF-0817-865C-A37EE4872545}"/>
              </a:ext>
            </a:extLst>
          </p:cNvPr>
          <p:cNvSpPr txBox="1"/>
          <p:nvPr/>
        </p:nvSpPr>
        <p:spPr>
          <a:xfrm>
            <a:off x="11750358" y="6411912"/>
            <a:ext cx="408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accent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167490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s">
  <a:themeElements>
    <a:clrScheme name="Dunsky 2021">
      <a:dk1>
        <a:srgbClr val="000000"/>
      </a:dk1>
      <a:lt1>
        <a:srgbClr val="FFFFFF"/>
      </a:lt1>
      <a:dk2>
        <a:srgbClr val="2B2929"/>
      </a:dk2>
      <a:lt2>
        <a:srgbClr val="FFFFFF"/>
      </a:lt2>
      <a:accent1>
        <a:srgbClr val="013766"/>
      </a:accent1>
      <a:accent2>
        <a:srgbClr val="57B9E9"/>
      </a:accent2>
      <a:accent3>
        <a:srgbClr val="3F9793"/>
      </a:accent3>
      <a:accent4>
        <a:srgbClr val="FFC000"/>
      </a:accent4>
      <a:accent5>
        <a:srgbClr val="FF9933"/>
      </a:accent5>
      <a:accent6>
        <a:srgbClr val="FF5B11"/>
      </a:accent6>
      <a:hlink>
        <a:srgbClr val="3F9793"/>
      </a:hlink>
      <a:folHlink>
        <a:srgbClr val="954F72"/>
      </a:folHlink>
    </a:clrScheme>
    <a:fontScheme name="Dunsky">
      <a:majorFont>
        <a:latin typeface="Century Gothic Bold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5DCD3AD2-8872-4274-9DB9-0115E7C66919}" vid="{8E0C7877-8E2F-45CC-94DB-08185D80AA11}"/>
    </a:ext>
  </a:extLst>
</a:theme>
</file>

<file path=ppt/theme/theme2.xml><?xml version="1.0" encoding="utf-8"?>
<a:theme xmlns:a="http://schemas.openxmlformats.org/drawingml/2006/main" name="Section Breaks">
  <a:themeElements>
    <a:clrScheme name="Dunsky Palette">
      <a:dk1>
        <a:srgbClr val="000000"/>
      </a:dk1>
      <a:lt1>
        <a:srgbClr val="FFFFFF"/>
      </a:lt1>
      <a:dk2>
        <a:srgbClr val="2B2929"/>
      </a:dk2>
      <a:lt2>
        <a:srgbClr val="FFFFFF"/>
      </a:lt2>
      <a:accent1>
        <a:srgbClr val="013766"/>
      </a:accent1>
      <a:accent2>
        <a:srgbClr val="57B9E9"/>
      </a:accent2>
      <a:accent3>
        <a:srgbClr val="3F9793"/>
      </a:accent3>
      <a:accent4>
        <a:srgbClr val="FFC000"/>
      </a:accent4>
      <a:accent5>
        <a:srgbClr val="FF9933"/>
      </a:accent5>
      <a:accent6>
        <a:srgbClr val="FF5B11"/>
      </a:accent6>
      <a:hlink>
        <a:srgbClr val="3F9793"/>
      </a:hlink>
      <a:folHlink>
        <a:srgbClr val="954F72"/>
      </a:folHlink>
    </a:clrScheme>
    <a:fontScheme name="Dunsky">
      <a:majorFont>
        <a:latin typeface="Century Gothic Bold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5DCD3AD2-8872-4274-9DB9-0115E7C66919}" vid="{7CE73E43-3EB1-45E6-89D0-106B51D01EE4}"/>
    </a:ext>
  </a:extLst>
</a:theme>
</file>

<file path=ppt/theme/theme3.xml><?xml version="1.0" encoding="utf-8"?>
<a:theme xmlns:a="http://schemas.openxmlformats.org/drawingml/2006/main" name="Team and Contact">
  <a:themeElements>
    <a:clrScheme name="Dunsky 2021">
      <a:dk1>
        <a:srgbClr val="000000"/>
      </a:dk1>
      <a:lt1>
        <a:srgbClr val="FFFFFF"/>
      </a:lt1>
      <a:dk2>
        <a:srgbClr val="2B2929"/>
      </a:dk2>
      <a:lt2>
        <a:srgbClr val="FFFFFF"/>
      </a:lt2>
      <a:accent1>
        <a:srgbClr val="013766"/>
      </a:accent1>
      <a:accent2>
        <a:srgbClr val="57B9E9"/>
      </a:accent2>
      <a:accent3>
        <a:srgbClr val="3F9793"/>
      </a:accent3>
      <a:accent4>
        <a:srgbClr val="FFC000"/>
      </a:accent4>
      <a:accent5>
        <a:srgbClr val="FF9933"/>
      </a:accent5>
      <a:accent6>
        <a:srgbClr val="FF5B11"/>
      </a:accent6>
      <a:hlink>
        <a:srgbClr val="3F9793"/>
      </a:hlink>
      <a:folHlink>
        <a:srgbClr val="954F72"/>
      </a:folHlink>
    </a:clrScheme>
    <a:fontScheme name="Dunsky">
      <a:majorFont>
        <a:latin typeface="Century Gothic Bold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5DCD3AD2-8872-4274-9DB9-0115E7C66919}" vid="{781CF476-C41D-4BC1-B41B-1CCD9711F479}"/>
    </a:ext>
  </a:extLst>
</a:theme>
</file>

<file path=ppt/theme/theme4.xml><?xml version="1.0" encoding="utf-8"?>
<a:theme xmlns:a="http://schemas.openxmlformats.org/drawingml/2006/main" name="Content Layouts">
  <a:themeElements>
    <a:clrScheme name="Dunsky Palette">
      <a:dk1>
        <a:srgbClr val="000000"/>
      </a:dk1>
      <a:lt1>
        <a:srgbClr val="FFFFFF"/>
      </a:lt1>
      <a:dk2>
        <a:srgbClr val="2B2929"/>
      </a:dk2>
      <a:lt2>
        <a:srgbClr val="FFFFFF"/>
      </a:lt2>
      <a:accent1>
        <a:srgbClr val="013766"/>
      </a:accent1>
      <a:accent2>
        <a:srgbClr val="57B9E9"/>
      </a:accent2>
      <a:accent3>
        <a:srgbClr val="3F9793"/>
      </a:accent3>
      <a:accent4>
        <a:srgbClr val="FFC000"/>
      </a:accent4>
      <a:accent5>
        <a:srgbClr val="FF9933"/>
      </a:accent5>
      <a:accent6>
        <a:srgbClr val="FF5B11"/>
      </a:accent6>
      <a:hlink>
        <a:srgbClr val="3F9793"/>
      </a:hlink>
      <a:folHlink>
        <a:srgbClr val="954F72"/>
      </a:folHlink>
    </a:clrScheme>
    <a:fontScheme name="Dunsky">
      <a:majorFont>
        <a:latin typeface="Century Gothic Bold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5DCD3AD2-8872-4274-9DB9-0115E7C66919}" vid="{248576DF-8316-4109-B4C0-A15D11065C2B}"/>
    </a:ext>
  </a:extLst>
</a:theme>
</file>

<file path=ppt/theme/theme5.xml><?xml version="1.0" encoding="utf-8"?>
<a:theme xmlns:a="http://schemas.openxmlformats.org/drawingml/2006/main" name="Blanks">
  <a:themeElements>
    <a:clrScheme name="Dunsky Palette">
      <a:dk1>
        <a:srgbClr val="000000"/>
      </a:dk1>
      <a:lt1>
        <a:srgbClr val="FFFFFF"/>
      </a:lt1>
      <a:dk2>
        <a:srgbClr val="2B2929"/>
      </a:dk2>
      <a:lt2>
        <a:srgbClr val="FFFFFF"/>
      </a:lt2>
      <a:accent1>
        <a:srgbClr val="013766"/>
      </a:accent1>
      <a:accent2>
        <a:srgbClr val="57B9E9"/>
      </a:accent2>
      <a:accent3>
        <a:srgbClr val="3F9793"/>
      </a:accent3>
      <a:accent4>
        <a:srgbClr val="FFC000"/>
      </a:accent4>
      <a:accent5>
        <a:srgbClr val="FF9933"/>
      </a:accent5>
      <a:accent6>
        <a:srgbClr val="FF5B11"/>
      </a:accent6>
      <a:hlink>
        <a:srgbClr val="3F9793"/>
      </a:hlink>
      <a:folHlink>
        <a:srgbClr val="954F72"/>
      </a:folHlink>
    </a:clrScheme>
    <a:fontScheme name="Dunsky">
      <a:majorFont>
        <a:latin typeface="Century Gothic Bold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5DCD3AD2-8872-4274-9DB9-0115E7C66919}" vid="{2FE1E844-FD7A-4BAC-A93D-2F88E6D5732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0CF40B88198248839F458FDBD79F1D" ma:contentTypeVersion="3" ma:contentTypeDescription="Create a new document." ma:contentTypeScope="" ma:versionID="8c12db5be2a305fa3d3c188673cffdca">
  <xsd:schema xmlns:xsd="http://www.w3.org/2001/XMLSchema" xmlns:xs="http://www.w3.org/2001/XMLSchema" xmlns:p="http://schemas.microsoft.com/office/2006/metadata/properties" xmlns:ns2="81e95db4-618a-4ad9-98ed-09ac4e91b307" targetNamespace="http://schemas.microsoft.com/office/2006/metadata/properties" ma:root="true" ma:fieldsID="19d57c459357b4794382913c37ff51be" ns2:_="">
    <xsd:import namespace="81e95db4-618a-4ad9-98ed-09ac4e91b3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e95db4-618a-4ad9-98ed-09ac4e91b3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A25546D-F594-4AD9-A140-42C222598B67}">
  <ds:schemaRefs>
    <ds:schemaRef ds:uri="81e95db4-618a-4ad9-98ed-09ac4e91b30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12AAF90-688F-46E2-B3BC-6AD41F71FEB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C45FB0-D373-4415-AF3C-21D7C7B7A9D4}">
  <ds:schemaRefs>
    <ds:schemaRef ds:uri="http://purl.org/dc/elements/1.1/"/>
    <ds:schemaRef ds:uri="81e95db4-618a-4ad9-98ed-09ac4e91b307"/>
    <ds:schemaRef ds:uri="http://purl.org/dc/terms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38354484-5afa-4f24-b1db-32f51c574a08}" enabled="0" method="" siteId="{38354484-5afa-4f24-b1db-32f51c574a0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xternal Project Kickoff 20250310_1328</Template>
  <TotalTime>403</TotalTime>
  <Words>1585</Words>
  <Application>Microsoft Office PowerPoint</Application>
  <PresentationFormat>Widescreen</PresentationFormat>
  <Paragraphs>196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rial</vt:lpstr>
      <vt:lpstr>Arial Nova Cond</vt:lpstr>
      <vt:lpstr>Avenir Next LT Pro Light</vt:lpstr>
      <vt:lpstr>Calibri</vt:lpstr>
      <vt:lpstr>Century Gothic</vt:lpstr>
      <vt:lpstr>Wingdings</vt:lpstr>
      <vt:lpstr>Covers</vt:lpstr>
      <vt:lpstr>Section Breaks</vt:lpstr>
      <vt:lpstr>Team and Contact</vt:lpstr>
      <vt:lpstr>Content Layouts</vt:lpstr>
      <vt:lpstr>Blanks</vt:lpstr>
      <vt:lpstr>think-cell Slide</vt:lpstr>
      <vt:lpstr>Climate Change Mitigation and Resilience STAB Technical Consultant Presentation</vt:lpstr>
      <vt:lpstr>Agenda</vt:lpstr>
      <vt:lpstr>Resilience Plan</vt:lpstr>
      <vt:lpstr>Agenda</vt:lpstr>
      <vt:lpstr>STAB Statement on Climate Strategy + Budget Proposal</vt:lpstr>
      <vt:lpstr>Agenda</vt:lpstr>
      <vt:lpstr>STAB Climate Science Report</vt:lpstr>
      <vt:lpstr>Outline of Most Recent Annual Report (2020)</vt:lpstr>
      <vt:lpstr>Agenda</vt:lpstr>
      <vt:lpstr>STAB Student-Supported Research</vt:lpstr>
      <vt:lpstr>Agenda</vt:lpstr>
      <vt:lpstr>Recent and Upcoming Wor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 Rivers</dc:creator>
  <cp:lastModifiedBy>Stone, Elizabeth (DEM)</cp:lastModifiedBy>
  <cp:revision>3</cp:revision>
  <dcterms:created xsi:type="dcterms:W3CDTF">2025-06-18T21:27:29Z</dcterms:created>
  <dcterms:modified xsi:type="dcterms:W3CDTF">2026-03-24T13:1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0CF40B88198248839F458FDBD79F1D</vt:lpwstr>
  </property>
  <property fmtid="{D5CDD505-2E9C-101B-9397-08002B2CF9AE}" pid="3" name="Order">
    <vt:lpwstr>211200.000000000</vt:lpwstr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  <property fmtid="{D5CDD505-2E9C-101B-9397-08002B2CF9AE}" pid="7" name="MediaServiceImageTags">
    <vt:lpwstr/>
  </property>
</Properties>
</file>